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Override16.xml" ContentType="application/vnd.openxmlformats-officedocument.themeOverride+xml"/>
  <Override PartName="/ppt/theme/theme1.xml" ContentType="application/vnd.openxmlformats-officedocument.theme+xml"/>
  <Override PartName="/ppt/theme/themeOverride15.xml" ContentType="application/vnd.openxmlformats-officedocument.themeOverride+xml"/>
  <Override PartName="/ppt/theme/themeOverride14.xml" ContentType="application/vnd.openxmlformats-officedocument.themeOverride+xml"/>
  <Override PartName="/ppt/theme/themeOverride13.xml" ContentType="application/vnd.openxmlformats-officedocument.themeOverr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20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21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22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23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24.xml" ContentType="application/vnd.openxmlformats-officedocument.themeOverride+xml"/>
  <Override PartName="/ppt/theme/themeOverride25.xml" ContentType="application/vnd.openxmlformats-officedocument.themeOverride+xml"/>
  <Override PartName="/ppt/theme/themeOverride12.xml" ContentType="application/vnd.openxmlformats-officedocument.themeOverride+xml"/>
  <Override PartName="/ppt/theme/themeOverride26.xml" ContentType="application/vnd.openxmlformats-officedocument.themeOverride+xml"/>
  <Override PartName="/ppt/theme/themeOverride27.xml" ContentType="application/vnd.openxmlformats-officedocument.themeOverride+xml"/>
  <Override PartName="/ppt/theme/themeOverride28.xml" ContentType="application/vnd.openxmlformats-officedocument.themeOverride+xml"/>
  <Override PartName="/ppt/theme/themeOverride29.xml" ContentType="application/vnd.openxmlformats-officedocument.themeOverride+xml"/>
  <Override PartName="/ppt/theme/themeOverride30.xml" ContentType="application/vnd.openxmlformats-officedocument.themeOverride+xml"/>
  <Override PartName="/ppt/theme/themeOverride31.xml" ContentType="application/vnd.openxmlformats-officedocument.themeOverride+xml"/>
  <Override PartName="/ppt/theme/theme2.xml" ContentType="application/vnd.openxmlformats-officedocument.theme+xml"/>
  <Override PartName="/ppt/theme/themeOverride19.xml" ContentType="application/vnd.openxmlformats-officedocument.themeOverride+xml"/>
  <Override PartName="/ppt/theme/themeOverride18.xml" ContentType="application/vnd.openxmlformats-officedocument.themeOverride+xml"/>
  <Override PartName="/ppt/theme/themeOverride17.xml" ContentType="application/vnd.openxmlformats-officedocument.themeOverr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54.xml" ContentType="application/vnd.openxmlformats-officedocument.presentationml.tags+xml"/>
  <Override PartName="/ppt/tags/tag88.xml" ContentType="application/vnd.openxmlformats-officedocument.presentationml.tags+xml"/>
  <Override PartName="/ppt/tags/tag42.xml" ContentType="application/vnd.openxmlformats-officedocument.presentationml.tags+xml"/>
  <Override PartName="/ppt/tags/tag55.xml" ContentType="application/vnd.openxmlformats-officedocument.presentationml.tags+xml"/>
  <Override PartName="/ppt/tags/tag98.xml" ContentType="application/vnd.openxmlformats-officedocument.presentationml.tags+xml"/>
  <Override PartName="/ppt/tags/tag56.xml" ContentType="application/vnd.openxmlformats-officedocument.presentationml.tags+xml"/>
  <Override PartName="/ppt/tags/tag93.xml" ContentType="application/vnd.openxmlformats-officedocument.presentationml.tags+xml"/>
  <Override PartName="/ppt/tags/tag57.xml" ContentType="application/vnd.openxmlformats-officedocument.presentationml.tags+xml"/>
  <Override PartName="/ppt/tags/tag41.xml" ContentType="application/vnd.openxmlformats-officedocument.presentationml.tags+xml"/>
  <Override PartName="/ppt/tags/tag58.xml" ContentType="application/vnd.openxmlformats-officedocument.presentationml.tags+xml"/>
  <Override PartName="/ppt/revisionInfo.xml" ContentType="application/vnd.ms-powerpoint.revisioninfo+xml"/>
  <Override PartName="/ppt/tags/tag89.xml" ContentType="application/vnd.openxmlformats-officedocument.presentationml.tags+xml"/>
  <Override PartName="/ppt/tags/tag59.xml" ContentType="application/vnd.openxmlformats-officedocument.presentationml.tags+xml"/>
  <Override PartName="/ppt/tags/tag40.xml" ContentType="application/vnd.openxmlformats-officedocument.presentationml.tags+xml"/>
  <Override PartName="/docProps/core.xml" ContentType="application/vnd.openxmlformats-package.core-properties+xml"/>
  <Override PartName="/ppt/tags/tag60.xml" ContentType="application/vnd.openxmlformats-officedocument.presentationml.tags+xml"/>
  <Override PartName="/docProps/app.xml" ContentType="application/vnd.openxmlformats-officedocument.extended-properties+xml"/>
  <Override PartName="/ppt/tags/tag61.xml" ContentType="application/vnd.openxmlformats-officedocument.presentationml.tags+xml"/>
  <Override PartName="/ppt/tags/tag39.xml" ContentType="application/vnd.openxmlformats-officedocument.presentationml.tags+xml"/>
  <Override PartName="/ppt/tags/tag62.xml" ContentType="application/vnd.openxmlformats-officedocument.presentationml.tags+xml"/>
  <Override PartName="/docMetadata/LabelInfo.xml" ContentType="application/vnd.ms-office.classificationlabels+xml"/>
  <Override PartName="/ppt/tags/tag63.xml" ContentType="application/vnd.openxmlformats-officedocument.presentationml.tags+xml"/>
  <Override PartName="/ppt/tags/tag34.xml" ContentType="application/vnd.openxmlformats-officedocument.presentationml.tags+xml"/>
  <Override PartName="/ppt/tags/tag64.xml" ContentType="application/vnd.openxmlformats-officedocument.presentationml.tags+xml"/>
  <Override PartName="/ppt/tags/tag38.xml" ContentType="application/vnd.openxmlformats-officedocument.presentationml.tags+xml"/>
  <Override PartName="/ppt/tags/tag9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91.xml" ContentType="application/vnd.openxmlformats-officedocument.presentationml.tags+xml"/>
  <Override PartName="/ppt/tags/tag48.xml" ContentType="application/vnd.openxmlformats-officedocument.presentationml.tags+xml"/>
  <Override PartName="/ppt/tags/tag67.xml" ContentType="application/vnd.openxmlformats-officedocument.presentationml.tags+xml"/>
  <Override PartName="/ppt/tags/tag46.xml" ContentType="application/vnd.openxmlformats-officedocument.presentationml.tags+xml"/>
  <Override PartName="/ppt/tags/tag49.xml" ContentType="application/vnd.openxmlformats-officedocument.presentationml.tags+xml"/>
  <Override PartName="/ppt/tags/tag68.xml" ContentType="application/vnd.openxmlformats-officedocument.presentationml.tags+xml"/>
  <Override PartName="/ppt/tags/tag47.xml" ContentType="application/vnd.openxmlformats-officedocument.presentationml.tags+xml"/>
  <Override PartName="/ppt/tags/tag50.xml" ContentType="application/vnd.openxmlformats-officedocument.presentationml.tags+xml"/>
  <Override PartName="/ppt/tags/tag69.xml" ContentType="application/vnd.openxmlformats-officedocument.presentationml.tags+xml"/>
  <Override PartName="/ppt/tags/tag90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45.xml" ContentType="application/vnd.openxmlformats-officedocument.presentationml.tags+xml"/>
  <Override PartName="/ppt/tags/tag72.xml" ContentType="application/vnd.openxmlformats-officedocument.presentationml.tags+xml"/>
  <Override PartName="/ppt/tags/tag51.xml" ContentType="application/vnd.openxmlformats-officedocument.presentationml.tags+xml"/>
  <Override PartName="/ppt/tags/tag73.xml" ContentType="application/vnd.openxmlformats-officedocument.presentationml.tags+xml"/>
  <Override PartName="/ppt/tags/tag96.xml" ContentType="application/vnd.openxmlformats-officedocument.presentationml.tags+xml"/>
  <Override PartName="/ppt/tags/tag52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44.xml" ContentType="application/vnd.openxmlformats-officedocument.presentationml.tags+xml"/>
  <Override PartName="/ppt/tags/tag75.xml" ContentType="application/vnd.openxmlformats-officedocument.presentationml.tags+xml"/>
  <Override PartName="/ppt/tags/tag53.xml" ContentType="application/vnd.openxmlformats-officedocument.presentationml.tags+xml"/>
  <Override PartName="/ppt/tags/tag43.xml" ContentType="application/vnd.openxmlformats-officedocument.presentationml.tags+xml"/>
  <Override PartName="/ppt/tags/tag97.xml" ContentType="application/vnd.openxmlformats-officedocument.presentationml.tags+xml"/>
  <Override PartName="/ppt/tags/tag95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5"/>
  </p:notesMasterIdLst>
  <p:sldIdLst>
    <p:sldId id="2147380475" r:id="rId2"/>
    <p:sldId id="2147380539" r:id="rId3"/>
    <p:sldId id="2147380477" r:id="rId4"/>
    <p:sldId id="2147380478" r:id="rId5"/>
    <p:sldId id="2147380479" r:id="rId6"/>
    <p:sldId id="2147380480" r:id="rId7"/>
    <p:sldId id="2147380550" r:id="rId8"/>
    <p:sldId id="2147380481" r:id="rId9"/>
    <p:sldId id="2147380542" r:id="rId10"/>
    <p:sldId id="2147380482" r:id="rId11"/>
    <p:sldId id="2147380536" r:id="rId12"/>
    <p:sldId id="2147380537" r:id="rId13"/>
    <p:sldId id="2147380538" r:id="rId14"/>
    <p:sldId id="2147380484" r:id="rId15"/>
    <p:sldId id="2147380540" r:id="rId16"/>
    <p:sldId id="2147380541" r:id="rId17"/>
    <p:sldId id="2147380543" r:id="rId18"/>
    <p:sldId id="2147380544" r:id="rId19"/>
    <p:sldId id="2147380545" r:id="rId20"/>
    <p:sldId id="2147380546" r:id="rId21"/>
    <p:sldId id="2147380547" r:id="rId22"/>
    <p:sldId id="2147380548" r:id="rId23"/>
    <p:sldId id="2147380549" r:id="rId2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1C449C-B93D-0E16-9C3F-91C8B329CDC3}" v="93" dt="2024-02-22T15:03:34.158"/>
    <p1510:client id="{49CCCA5E-9491-F316-1BDA-61A3AADBC960}" v="323" dt="2024-02-23T14:20:52.355"/>
    <p1510:client id="{FA3A6460-0E9C-49A3-9B4A-4DAAD5860F80}" v="55" dt="2024-02-22T15:17:53.07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288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33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microsoft.com/office/2015/10/relationships/revisionInfo" Target="revisionInfo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02AF21-D9B1-4167-BE6C-C1608CDC8E4D}" type="datetimeFigureOut">
              <a:rPr lang="en-IN" smtClean="0"/>
              <a:t>23-02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F3D0DA-923D-4D48-A2DA-66AC28693B5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863299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3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10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8.x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5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5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5.emf"/></Relationships>
</file>

<file path=ppt/slideLayouts/_rels/slideLayout3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0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1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2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4.xml"/><Relationship Id="rId7" Type="http://schemas.openxmlformats.org/officeDocument/2006/relationships/image" Target="../media/image7.png"/><Relationship Id="rId2" Type="http://schemas.openxmlformats.org/officeDocument/2006/relationships/tags" Target="../tags/tag43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5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6.x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7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4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9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4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1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4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3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6" Type="http://schemas.openxmlformats.org/officeDocument/2006/relationships/image" Target="../media/image2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55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5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5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9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60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4" Type="http://schemas.openxmlformats.org/officeDocument/2006/relationships/image" Target="../media/image5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4" Type="http://schemas.openxmlformats.org/officeDocument/2006/relationships/image" Target="../media/image5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4" Type="http://schemas.openxmlformats.org/officeDocument/2006/relationships/image" Target="../media/image5.emf"/></Relationships>
</file>

<file path=ppt/slideLayouts/_rels/slideLayout5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66.xml"/><Relationship Id="rId7" Type="http://schemas.openxmlformats.org/officeDocument/2006/relationships/image" Target="../media/image6.png"/><Relationship Id="rId2" Type="http://schemas.openxmlformats.org/officeDocument/2006/relationships/tags" Target="../tags/tag65.xml"/><Relationship Id="rId1" Type="http://schemas.openxmlformats.org/officeDocument/2006/relationships/themeOverride" Target="../theme/themeOverride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9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67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68.xml"/><Relationship Id="rId1" Type="http://schemas.openxmlformats.org/officeDocument/2006/relationships/themeOverride" Target="../theme/themeOverride2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9.xml"/><Relationship Id="rId1" Type="http://schemas.openxmlformats.org/officeDocument/2006/relationships/themeOverride" Target="../theme/themeOverride29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4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75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732460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093CC67-959F-4025-8633-E74293F6B412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/>
        </p:blipFill>
        <p:spPr>
          <a:xfrm>
            <a:off x="0" y="0"/>
            <a:ext cx="9144000" cy="686409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113849C-5FB3-4056-8F19-36969D0EFF73}"/>
              </a:ext>
            </a:extLst>
          </p:cNvPr>
          <p:cNvSpPr/>
          <p:nvPr userDrawn="1"/>
        </p:nvSpPr>
        <p:spPr>
          <a:xfrm>
            <a:off x="3" y="4"/>
            <a:ext cx="139775" cy="6857999"/>
          </a:xfrm>
          <a:prstGeom prst="rect">
            <a:avLst/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698880B8-EC43-453F-9776-5CC8A26630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6981" y="3214918"/>
            <a:ext cx="7930038" cy="1678909"/>
          </a:xfrm>
        </p:spPr>
        <p:txBody>
          <a:bodyPr lIns="91440" tIns="45720" rIns="91440" bIns="45720">
            <a:normAutofit/>
          </a:bodyPr>
          <a:lstStyle>
            <a:lvl1pPr marL="0" indent="0" algn="l">
              <a:lnSpc>
                <a:spcPct val="90000"/>
              </a:lnSpc>
              <a:buNone/>
              <a:defRPr sz="1350"/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011CA7C6-436A-4D50-84CE-D20D744800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9509" y="6088723"/>
            <a:ext cx="2057400" cy="36576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defRPr sz="105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pPr/>
              <a:t>2/23/2024</a:t>
            </a:fld>
            <a:endParaRPr lang="en-US"/>
          </a:p>
        </p:txBody>
      </p:sp>
      <p:sp>
        <p:nvSpPr>
          <p:cNvPr id="24" name="Title 13">
            <a:extLst>
              <a:ext uri="{FF2B5EF4-FFF2-40B4-BE49-F238E27FC236}">
                <a16:creationId xmlns:a16="http://schemas.microsoft.com/office/drawing/2014/main" id="{BE81AE1C-0D9E-4B80-869B-D19C9DBBA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981" y="1475832"/>
            <a:ext cx="7930038" cy="1678909"/>
          </a:xfrm>
        </p:spPr>
        <p:txBody>
          <a:bodyPr vert="horz" lIns="91440" tIns="45720" rIns="91440" bIns="45720" anchor="b">
            <a:noAutofit/>
          </a:bodyPr>
          <a:lstStyle>
            <a:lvl1pPr>
              <a:defRPr sz="315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Copyright">
            <a:extLst>
              <a:ext uri="{FF2B5EF4-FFF2-40B4-BE49-F238E27FC236}">
                <a16:creationId xmlns:a16="http://schemas.microsoft.com/office/drawing/2014/main" id="{FA0B86B2-FA89-4201-B142-9BD2A2B8BE5F}"/>
              </a:ext>
            </a:extLst>
          </p:cNvPr>
          <p:cNvSpPr txBox="1"/>
          <p:nvPr userDrawn="1"/>
        </p:nvSpPr>
        <p:spPr>
          <a:xfrm>
            <a:off x="317452" y="6554877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pic>
        <p:nvPicPr>
          <p:cNvPr id="28" name="Picture 27" descr="A picture containing clock&#10;&#10;Description automatically generated">
            <a:extLst>
              <a:ext uri="{FF2B5EF4-FFF2-40B4-BE49-F238E27FC236}">
                <a16:creationId xmlns:a16="http://schemas.microsoft.com/office/drawing/2014/main" id="{53AD205F-ED3B-4B8D-9794-3A6A5D63DA1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248571" y="6005583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742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7A6E026-9AAF-4AE7-8963-9262839BC9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619903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A6E026-9AAF-4AE7-8963-9262839BC9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500" y="1785600"/>
            <a:ext cx="32913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8" name="Picture 17" descr="A picture containing clock&#10;&#10;Description automatically generated">
            <a:extLst>
              <a:ext uri="{FF2B5EF4-FFF2-40B4-BE49-F238E27FC236}">
                <a16:creationId xmlns:a16="http://schemas.microsoft.com/office/drawing/2014/main" id="{0CB49041-215A-41B3-8DF1-B7DB8562931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9" name="Copyright">
            <a:extLst>
              <a:ext uri="{FF2B5EF4-FFF2-40B4-BE49-F238E27FC236}">
                <a16:creationId xmlns:a16="http://schemas.microsoft.com/office/drawing/2014/main" id="{AA86AA5B-2138-4425-9CE2-DF5EBB0DCBB8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E9C9F66-5AEB-4B43-BE11-4C137ABBE69B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55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7D9FFDC-B2AA-49B9-A83A-CECDDE8B8B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98200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D9FFDC-B2AA-49B9-A83A-CECDDE8B8B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864658" y="0"/>
            <a:ext cx="327934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804650"/>
            <a:ext cx="4685664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7" name="Picture 16" descr="A picture containing clock&#10;&#10;Description automatically generated">
            <a:extLst>
              <a:ext uri="{FF2B5EF4-FFF2-40B4-BE49-F238E27FC236}">
                <a16:creationId xmlns:a16="http://schemas.microsoft.com/office/drawing/2014/main" id="{D2E5596A-E7A3-43BF-8048-10F5C26BA45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8" name="Copyright">
            <a:extLst>
              <a:ext uri="{FF2B5EF4-FFF2-40B4-BE49-F238E27FC236}">
                <a16:creationId xmlns:a16="http://schemas.microsoft.com/office/drawing/2014/main" id="{10684DCD-A4C4-4AE2-8E0F-8FDE5E5905D4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7A43997-8FD9-4AC8-B6B0-C4734BF9F60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9123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B32F6D-1B00-42C8-A009-27F396DBE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51919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B32F6D-1B00-42C8-A009-27F396DBE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31" y="3590399"/>
            <a:ext cx="102393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2">
            <a:extLst>
              <a:ext uri="{FF2B5EF4-FFF2-40B4-BE49-F238E27FC236}">
                <a16:creationId xmlns:a16="http://schemas.microsoft.com/office/drawing/2014/main" id="{ADABBBA0-E8DB-4BB2-BCBB-59323CA396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</p:spPr>
        <p:txBody>
          <a:bodyPr vert="horz" anchor="ctr" anchorCtr="0">
            <a:noAutofit/>
          </a:bodyPr>
          <a:lstStyle>
            <a:lvl1pPr>
              <a:defRPr sz="2550" baseline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>
            <a:extLst>
              <a:ext uri="{FF2B5EF4-FFF2-40B4-BE49-F238E27FC236}">
                <a16:creationId xmlns:a16="http://schemas.microsoft.com/office/drawing/2014/main" id="{550E85A4-C31B-499B-8265-8959F8A0FD6B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C823931-CC32-4D35-A746-55A832AD9C8B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20" name="Picture 19" descr="A picture containing clock&#10;&#10;Description automatically generated">
            <a:extLst>
              <a:ext uri="{FF2B5EF4-FFF2-40B4-BE49-F238E27FC236}">
                <a16:creationId xmlns:a16="http://schemas.microsoft.com/office/drawing/2014/main" id="{7DE6D451-A865-4572-929C-D154F381202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631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6FD602F-C95D-4DDF-829E-CDD534E173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466692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FD602F-C95D-4DDF-829E-CDD534E173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</p:spPr>
        <p:txBody>
          <a:bodyPr vert="horz" anchor="ctr" anchorCtr="0">
            <a:noAutofit/>
          </a:bodyPr>
          <a:lstStyle>
            <a:lvl1pPr>
              <a:defRPr sz="255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30981" y="3402829"/>
            <a:ext cx="2021000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CFEAF1CD-EC94-4177-A98D-E3FCE4A767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8" name="Copyright">
            <a:extLst>
              <a:ext uri="{FF2B5EF4-FFF2-40B4-BE49-F238E27FC236}">
                <a16:creationId xmlns:a16="http://schemas.microsoft.com/office/drawing/2014/main" id="{0AE53871-DF2D-4237-A568-D43257D9BB7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0940D9B-BAF2-431E-94F8-4A2157DD9312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057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430985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 b="1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144" y="3394393"/>
            <a:ext cx="973931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Copyright">
            <a:extLst>
              <a:ext uri="{FF2B5EF4-FFF2-40B4-BE49-F238E27FC236}">
                <a16:creationId xmlns:a16="http://schemas.microsoft.com/office/drawing/2014/main" id="{A34DCE51-2784-4BC4-88C3-86CFBD220E82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21E6A48-3B1B-408B-81B0-486478B94AC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8" name="Picture 17" descr="A picture containing clock&#10;&#10;Description automatically generated">
            <a:extLst>
              <a:ext uri="{FF2B5EF4-FFF2-40B4-BE49-F238E27FC236}">
                <a16:creationId xmlns:a16="http://schemas.microsoft.com/office/drawing/2014/main" id="{FDC12B22-E678-46C4-A930-2CCE047884E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9339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A72752C-D67C-4DAE-B075-54C47F74E4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981870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72752C-D67C-4DAE-B075-54C47F74E4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83544" y="3416300"/>
            <a:ext cx="2021000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A5E521FF-37D5-4BE6-877A-B7AAB62CB4C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5" name="Copyright">
            <a:extLst>
              <a:ext uri="{FF2B5EF4-FFF2-40B4-BE49-F238E27FC236}">
                <a16:creationId xmlns:a16="http://schemas.microsoft.com/office/drawing/2014/main" id="{E2363D49-1BC5-40B5-B55F-0FBBBB4F160E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FC6DBBD-8832-481C-9BA0-250A855FADA0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42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F2FF61B-4919-4685-A211-AC9FDC1660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389357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2FF61B-4919-4685-A211-AC9FDC1660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3589606"/>
            <a:ext cx="1023938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>
            <a:extLst>
              <a:ext uri="{FF2B5EF4-FFF2-40B4-BE49-F238E27FC236}">
                <a16:creationId xmlns:a16="http://schemas.microsoft.com/office/drawing/2014/main" id="{4E27A71A-3E05-41D1-B7E3-644A73644DAB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319E433-29A6-4530-A049-5B6E7417267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20" name="Picture 19" descr="A picture containing clock&#10;&#10;Description automatically generated">
            <a:extLst>
              <a:ext uri="{FF2B5EF4-FFF2-40B4-BE49-F238E27FC236}">
                <a16:creationId xmlns:a16="http://schemas.microsoft.com/office/drawing/2014/main" id="{7E7B6BA1-FA4B-4BA2-8D9B-4E1F0EE038F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137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394DC70-499E-49BE-87F1-B8B4F9E057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154377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94DC70-499E-49BE-87F1-B8B4F9E057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45129" y="3407804"/>
            <a:ext cx="2021000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5" name="Picture 14" descr="A picture containing clock&#10;&#10;Description automatically generated">
            <a:extLst>
              <a:ext uri="{FF2B5EF4-FFF2-40B4-BE49-F238E27FC236}">
                <a16:creationId xmlns:a16="http://schemas.microsoft.com/office/drawing/2014/main" id="{7DEB216E-E833-4DFF-B4AC-7C72E15B60C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7" name="Copyright">
            <a:extLst>
              <a:ext uri="{FF2B5EF4-FFF2-40B4-BE49-F238E27FC236}">
                <a16:creationId xmlns:a16="http://schemas.microsoft.com/office/drawing/2014/main" id="{1935E0B0-BB81-424A-B1C3-87A152067DA8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425CE36-F473-41E9-9758-ABAFAFAF8D39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FF571F5-236A-4337-A496-E4181DFBFC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540468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F571F5-236A-4337-A496-E4181DFBFC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4" y="3589606"/>
            <a:ext cx="1023938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>
            <a:extLst>
              <a:ext uri="{FF2B5EF4-FFF2-40B4-BE49-F238E27FC236}">
                <a16:creationId xmlns:a16="http://schemas.microsoft.com/office/drawing/2014/main" id="{75090976-9ECD-4D8F-B330-B9A275CCCB9A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0C13F36-A188-42B0-8493-F102601670D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9" name="Picture 18" descr="A picture containing clock&#10;&#10;Description automatically generated">
            <a:extLst>
              <a:ext uri="{FF2B5EF4-FFF2-40B4-BE49-F238E27FC236}">
                <a16:creationId xmlns:a16="http://schemas.microsoft.com/office/drawing/2014/main" id="{C75636AF-D05D-4087-8077-0E5E16B1059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542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5F71168-C41C-4186-96AB-51BD96AE4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850099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F71168-C41C-4186-96AB-51BD96AE4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25721" y="3407804"/>
            <a:ext cx="2021000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3" name="Picture 12" descr="A picture containing clock&#10;&#10;Description automatically generated">
            <a:extLst>
              <a:ext uri="{FF2B5EF4-FFF2-40B4-BE49-F238E27FC236}">
                <a16:creationId xmlns:a16="http://schemas.microsoft.com/office/drawing/2014/main" id="{ADBC8D49-A008-4CB9-BAEC-9DF908B120C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1E06E6B6-9119-4C27-9BF6-4605E387EC95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85B0EF2-4209-4840-918E-0C1D075C10D4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02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o not remove" hidden="1">
            <a:extLst>
              <a:ext uri="{FF2B5EF4-FFF2-40B4-BE49-F238E27FC236}">
                <a16:creationId xmlns:a16="http://schemas.microsoft.com/office/drawing/2014/main" id="{814B9406-71D0-879E-6BDC-CD708348FC4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525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8C6F3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38C6F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C285012-5976-4241-9035-CCD96B6DEC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56164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285012-5976-4241-9035-CCD96B6DEC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81999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40936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2B3EA5A-94E2-4169-98CC-B065489771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07888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B3EA5A-94E2-4169-98CC-B06548977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1488" y="3826333"/>
            <a:ext cx="8201025" cy="1606550"/>
          </a:xfrm>
        </p:spPr>
        <p:txBody>
          <a:bodyPr vert="horz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88859097-BE8F-4156-944E-DE57EC806DF2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9B5B35F-E405-4A21-AE09-A43A3935B06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3" name="Picture 12" descr="A picture containing clock&#10;&#10;Description automatically generated">
            <a:extLst>
              <a:ext uri="{FF2B5EF4-FFF2-40B4-BE49-F238E27FC236}">
                <a16:creationId xmlns:a16="http://schemas.microsoft.com/office/drawing/2014/main" id="{5BC1E5E9-B7CB-4EAE-B3E4-D177BC5FE65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7694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A0301A0-70D1-47A5-81B2-A1BE2CFC54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113923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0301A0-70D1-47A5-81B2-A1BE2CFC5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1488" y="625475"/>
            <a:ext cx="699516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1488" y="3826333"/>
            <a:ext cx="8201025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71318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1091225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01939" y="1353921"/>
            <a:ext cx="769257" cy="7514866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38C6F3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 descr="A picture containing clock&#10;&#10;Description automatically generated">
            <a:extLst>
              <a:ext uri="{FF2B5EF4-FFF2-40B4-BE49-F238E27FC236}">
                <a16:creationId xmlns:a16="http://schemas.microsoft.com/office/drawing/2014/main" id="{A755745E-4BB8-4B6B-BD44-8629802D5F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1" name="Copyright">
            <a:extLst>
              <a:ext uri="{FF2B5EF4-FFF2-40B4-BE49-F238E27FC236}">
                <a16:creationId xmlns:a16="http://schemas.microsoft.com/office/drawing/2014/main" id="{CB0128C0-4EEA-461E-B9F6-8818D8DAEB1A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21841AA-C354-4A0A-BEB4-17F9679CCE64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78319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25BA21E-64BF-49D1-82DE-60811ADF4E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106062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5BA21E-64BF-49D1-82DE-60811ADF4E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8199900" cy="353174"/>
          </a:xfrm>
        </p:spPr>
        <p:txBody>
          <a:bodyPr vert="horz"/>
          <a:lstStyle>
            <a:lvl1pPr>
              <a:defRPr sz="255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 descr="A picture containing clock&#10;&#10;Description automatically generated">
            <a:extLst>
              <a:ext uri="{FF2B5EF4-FFF2-40B4-BE49-F238E27FC236}">
                <a16:creationId xmlns:a16="http://schemas.microsoft.com/office/drawing/2014/main" id="{3A55724B-A41A-4B68-8CA0-6DC33C3F8E7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0" name="Copyright">
            <a:extLst>
              <a:ext uri="{FF2B5EF4-FFF2-40B4-BE49-F238E27FC236}">
                <a16:creationId xmlns:a16="http://schemas.microsoft.com/office/drawing/2014/main" id="{471B74DE-6BC3-4800-8466-2ECD624AE824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8BC77D1-EBB1-479E-87CF-3550025539C8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016601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7D89007-403D-423A-AC9F-F92EC7265E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32031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D89007-403D-423A-AC9F-F92EC7265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765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43DA4FE-F026-4A39-BF14-577F32FE45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663173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3DA4FE-F026-4A39-BF14-577F32FE45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E13DDAD1-8961-4057-82BE-1E730E78EB02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B27C30F-3DA6-495B-8169-662376FFD75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746E12E5-7D11-44D2-9FDE-364AD1A936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0656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BC388F1-9B38-4226-8D08-B8F7117199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161675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C388F1-9B38-4226-8D08-B8F7117199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97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155124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38D192FC-778D-4835-93FB-66C90CEEFABB}"/>
              </a:ext>
            </a:extLst>
          </p:cNvPr>
          <p:cNvPicPr>
            <a:picLocks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9144000" cy="686409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A5AF406-E748-4292-AC2F-FC0A8497DAE1}"/>
              </a:ext>
            </a:extLst>
          </p:cNvPr>
          <p:cNvSpPr/>
          <p:nvPr userDrawn="1"/>
        </p:nvSpPr>
        <p:spPr>
          <a:xfrm>
            <a:off x="3" y="4"/>
            <a:ext cx="139775" cy="6857999"/>
          </a:xfrm>
          <a:prstGeom prst="rect">
            <a:avLst/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F958547A-9FEC-4153-A218-56618FB1E20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17597" y="2352955"/>
            <a:ext cx="4108811" cy="1453457"/>
          </a:xfrm>
          <a:prstGeom prst="rect">
            <a:avLst/>
          </a:prstGeom>
        </p:spPr>
      </p:pic>
      <p:sp>
        <p:nvSpPr>
          <p:cNvPr id="13" name="Copyright">
            <a:extLst>
              <a:ext uri="{FF2B5EF4-FFF2-40B4-BE49-F238E27FC236}">
                <a16:creationId xmlns:a16="http://schemas.microsoft.com/office/drawing/2014/main" id="{7EAE3651-A526-49DB-B739-C1122A597289}"/>
              </a:ext>
            </a:extLst>
          </p:cNvPr>
          <p:cNvSpPr txBox="1"/>
          <p:nvPr userDrawn="1"/>
        </p:nvSpPr>
        <p:spPr>
          <a:xfrm>
            <a:off x="317452" y="6554877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730254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A9F6AA6-42E4-4449-A13B-B50FCD2E61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367215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9F6AA6-42E4-4449-A13B-B50FCD2E6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4636B15-3AC7-4BFD-8073-4971086BB58C}"/>
              </a:ext>
            </a:extLst>
          </p:cNvPr>
          <p:cNvGrpSpPr/>
          <p:nvPr userDrawn="1"/>
        </p:nvGrpSpPr>
        <p:grpSpPr>
          <a:xfrm>
            <a:off x="-450" y="-1"/>
            <a:ext cx="9145350" cy="6858001"/>
            <a:chOff x="-600" y="-1"/>
            <a:chExt cx="12193800" cy="6858001"/>
          </a:xfrm>
        </p:grpSpPr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B0D92EF-0542-47C7-A2D1-EA021ADDF86A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22801 h 6858000"/>
                <a:gd name="connsiteX2" fmla="*/ 628650 w 12193200"/>
                <a:gd name="connsiteY2" fmla="*/ 622801 h 6858000"/>
                <a:gd name="connsiteX3" fmla="*/ 628650 w 12193200"/>
                <a:gd name="connsiteY3" fmla="*/ 6442949 h 6858000"/>
                <a:gd name="connsiteX4" fmla="*/ 11563350 w 12193200"/>
                <a:gd name="connsiteY4" fmla="*/ 6442949 h 6858000"/>
                <a:gd name="connsiteX5" fmla="*/ 11563350 w 12193200"/>
                <a:gd name="connsiteY5" fmla="*/ 622801 h 6858000"/>
                <a:gd name="connsiteX6" fmla="*/ 11562000 w 12193200"/>
                <a:gd name="connsiteY6" fmla="*/ 62280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22801"/>
                  </a:lnTo>
                  <a:lnTo>
                    <a:pt x="628650" y="622801"/>
                  </a:lnTo>
                  <a:lnTo>
                    <a:pt x="628650" y="6442949"/>
                  </a:lnTo>
                  <a:lnTo>
                    <a:pt x="11563350" y="6442949"/>
                  </a:lnTo>
                  <a:lnTo>
                    <a:pt x="11563350" y="622801"/>
                  </a:lnTo>
                  <a:lnTo>
                    <a:pt x="11562000" y="62280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E1251B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50">
                <a:solidFill>
                  <a:schemeClr val="tx1"/>
                </a:solidFill>
              </a:endParaRP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2AA1026F-E600-4F92-8E8A-D92A5539F973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2BF26676-66F6-4BD1-B84C-02244FE3EDB2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DF569B80-8CA5-4F49-85AE-325D2F3D1829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61C4A750-0AF2-4FE9-B948-335686F9F8FA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A852159F-B822-4987-85DF-C7F4764151D5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722EBF8E-A6A6-4967-84BC-1C3F02A59696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A78ACC6A-F495-4D53-91F4-C959CA266B08}"/>
                </a:ext>
              </a:extLst>
            </p:cNvPr>
            <p:cNvCxnSpPr/>
            <p:nvPr/>
          </p:nvCxnSpPr>
          <p:spPr>
            <a:xfrm>
              <a:off x="-600" y="23630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238DE1C8-09AA-4189-9F1D-19A9B6DFA023}"/>
                </a:ext>
              </a:extLst>
            </p:cNvPr>
            <p:cNvCxnSpPr/>
            <p:nvPr/>
          </p:nvCxnSpPr>
          <p:spPr>
            <a:xfrm>
              <a:off x="-600" y="26449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F9F07F57-2915-4BC9-8D7A-E8F15D438277}"/>
                </a:ext>
              </a:extLst>
            </p:cNvPr>
            <p:cNvCxnSpPr/>
            <p:nvPr/>
          </p:nvCxnSpPr>
          <p:spPr>
            <a:xfrm>
              <a:off x="-600" y="292683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4E410D83-E8CB-4BA6-99E7-BE9C7458E6CA}"/>
                </a:ext>
              </a:extLst>
            </p:cNvPr>
            <p:cNvCxnSpPr/>
            <p:nvPr/>
          </p:nvCxnSpPr>
          <p:spPr>
            <a:xfrm>
              <a:off x="-600" y="320870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E0299EF8-71A4-40D0-8BE0-0B20CD71B95E}"/>
                </a:ext>
              </a:extLst>
            </p:cNvPr>
            <p:cNvCxnSpPr/>
            <p:nvPr/>
          </p:nvCxnSpPr>
          <p:spPr>
            <a:xfrm>
              <a:off x="-600" y="34905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6E03FD65-4257-45B4-8C65-ABB085C6CAEA}"/>
                </a:ext>
              </a:extLst>
            </p:cNvPr>
            <p:cNvCxnSpPr/>
            <p:nvPr/>
          </p:nvCxnSpPr>
          <p:spPr>
            <a:xfrm>
              <a:off x="-600" y="377245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4BF86BDF-7BC5-4A22-A165-B381A438E552}"/>
                </a:ext>
              </a:extLst>
            </p:cNvPr>
            <p:cNvCxnSpPr/>
            <p:nvPr/>
          </p:nvCxnSpPr>
          <p:spPr>
            <a:xfrm>
              <a:off x="-600" y="405433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003D54C3-EEB0-45A3-8487-2B8D8F3F8A5B}"/>
                </a:ext>
              </a:extLst>
            </p:cNvPr>
            <p:cNvCxnSpPr/>
            <p:nvPr/>
          </p:nvCxnSpPr>
          <p:spPr>
            <a:xfrm>
              <a:off x="-600" y="433620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55B0598-C698-41B3-B5BE-A9D66F3FC647}"/>
                </a:ext>
              </a:extLst>
            </p:cNvPr>
            <p:cNvCxnSpPr/>
            <p:nvPr/>
          </p:nvCxnSpPr>
          <p:spPr>
            <a:xfrm>
              <a:off x="-600" y="461807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3DE51B4E-2B16-4A20-AA67-C66CC75FA6F3}"/>
                </a:ext>
              </a:extLst>
            </p:cNvPr>
            <p:cNvCxnSpPr/>
            <p:nvPr/>
          </p:nvCxnSpPr>
          <p:spPr>
            <a:xfrm>
              <a:off x="-600" y="489995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C16A977A-D782-438F-BF1D-0CA9819D1211}"/>
                </a:ext>
              </a:extLst>
            </p:cNvPr>
            <p:cNvCxnSpPr/>
            <p:nvPr/>
          </p:nvCxnSpPr>
          <p:spPr>
            <a:xfrm>
              <a:off x="-600" y="51818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76BF523-D9E2-4745-871D-995E0D35AC69}"/>
                </a:ext>
              </a:extLst>
            </p:cNvPr>
            <p:cNvCxnSpPr/>
            <p:nvPr/>
          </p:nvCxnSpPr>
          <p:spPr>
            <a:xfrm>
              <a:off x="-600" y="546370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76AFD03E-CD8B-42EF-80F4-FECB4FF95C66}"/>
                </a:ext>
              </a:extLst>
            </p:cNvPr>
            <p:cNvCxnSpPr/>
            <p:nvPr/>
          </p:nvCxnSpPr>
          <p:spPr>
            <a:xfrm>
              <a:off x="-600" y="57455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343CB188-4B03-45F5-AE08-6CE19C710DC9}"/>
                </a:ext>
              </a:extLst>
            </p:cNvPr>
            <p:cNvCxnSpPr/>
            <p:nvPr/>
          </p:nvCxnSpPr>
          <p:spPr>
            <a:xfrm>
              <a:off x="-600" y="602745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3" name="Gutter space">
              <a:extLst>
                <a:ext uri="{FF2B5EF4-FFF2-40B4-BE49-F238E27FC236}">
                  <a16:creationId xmlns:a16="http://schemas.microsoft.com/office/drawing/2014/main" id="{EF2D95A0-0C10-4F84-B951-67EC9A9876B5}"/>
                </a:ext>
              </a:extLst>
            </p:cNvPr>
            <p:cNvGrpSpPr/>
            <p:nvPr/>
          </p:nvGrpSpPr>
          <p:grpSpPr>
            <a:xfrm>
              <a:off x="1277000" y="622800"/>
              <a:ext cx="9638000" cy="5404652"/>
              <a:chOff x="1277000" y="623550"/>
              <a:chExt cx="9638000" cy="5537047"/>
            </a:xfrm>
          </p:grpSpPr>
          <p:sp>
            <p:nvSpPr>
              <p:cNvPr id="125" name="Rectangle 34">
                <a:extLst>
                  <a:ext uri="{FF2B5EF4-FFF2-40B4-BE49-F238E27FC236}">
                    <a16:creationId xmlns:a16="http://schemas.microsoft.com/office/drawing/2014/main" id="{74478F7E-ABAF-4AAA-B16D-8F38953A5C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6" name="Rectangle 35">
                <a:extLst>
                  <a:ext uri="{FF2B5EF4-FFF2-40B4-BE49-F238E27FC236}">
                    <a16:creationId xmlns:a16="http://schemas.microsoft.com/office/drawing/2014/main" id="{8A89EDC6-5604-4CBE-AA4C-BFE43560DF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7" name="Rectangle 36">
                <a:extLst>
                  <a:ext uri="{FF2B5EF4-FFF2-40B4-BE49-F238E27FC236}">
                    <a16:creationId xmlns:a16="http://schemas.microsoft.com/office/drawing/2014/main" id="{6D2AF1F0-F88B-4795-848B-F621871E70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8" name="Rectangle 37">
                <a:extLst>
                  <a:ext uri="{FF2B5EF4-FFF2-40B4-BE49-F238E27FC236}">
                    <a16:creationId xmlns:a16="http://schemas.microsoft.com/office/drawing/2014/main" id="{3F8052D3-2ECF-481E-B54B-6736C40C0A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9" name="Rectangle 38">
                <a:extLst>
                  <a:ext uri="{FF2B5EF4-FFF2-40B4-BE49-F238E27FC236}">
                    <a16:creationId xmlns:a16="http://schemas.microsoft.com/office/drawing/2014/main" id="{C4CE936D-844F-4873-885F-715567A468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0" name="Rectangle 39">
                <a:extLst>
                  <a:ext uri="{FF2B5EF4-FFF2-40B4-BE49-F238E27FC236}">
                    <a16:creationId xmlns:a16="http://schemas.microsoft.com/office/drawing/2014/main" id="{2878B1E5-C24B-4D38-8F10-1830323764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1" name="Rectangle 40">
                <a:extLst>
                  <a:ext uri="{FF2B5EF4-FFF2-40B4-BE49-F238E27FC236}">
                    <a16:creationId xmlns:a16="http://schemas.microsoft.com/office/drawing/2014/main" id="{F1D17D2E-9A80-4B69-96C7-A92976854B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2" name="Rectangle 41">
                <a:extLst>
                  <a:ext uri="{FF2B5EF4-FFF2-40B4-BE49-F238E27FC236}">
                    <a16:creationId xmlns:a16="http://schemas.microsoft.com/office/drawing/2014/main" id="{B262DE92-FA0A-4460-9BBE-ED29892B83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3" name="Rectangle 42">
                <a:extLst>
                  <a:ext uri="{FF2B5EF4-FFF2-40B4-BE49-F238E27FC236}">
                    <a16:creationId xmlns:a16="http://schemas.microsoft.com/office/drawing/2014/main" id="{186E192D-00F8-4F12-AC1B-D78EF7AE22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8" name="Rectangle 43">
                <a:extLst>
                  <a:ext uri="{FF2B5EF4-FFF2-40B4-BE49-F238E27FC236}">
                    <a16:creationId xmlns:a16="http://schemas.microsoft.com/office/drawing/2014/main" id="{FAEB8EA2-6636-4BD0-981F-AEF4CE61FC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39" name="Rectangle 44">
                <a:extLst>
                  <a:ext uri="{FF2B5EF4-FFF2-40B4-BE49-F238E27FC236}">
                    <a16:creationId xmlns:a16="http://schemas.microsoft.com/office/drawing/2014/main" id="{67D8D79C-0532-46FF-8594-EFA65F4260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114" name="Slide edges">
              <a:extLst>
                <a:ext uri="{FF2B5EF4-FFF2-40B4-BE49-F238E27FC236}">
                  <a16:creationId xmlns:a16="http://schemas.microsoft.com/office/drawing/2014/main" id="{93E2C7C1-F8A1-46E0-B9E1-B70742B9A5F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5" name="Footnote measure">
              <a:extLst>
                <a:ext uri="{FF2B5EF4-FFF2-40B4-BE49-F238E27FC236}">
                  <a16:creationId xmlns:a16="http://schemas.microsoft.com/office/drawing/2014/main" id="{691CAB54-0BD3-4BEC-87C2-8FE5F11E29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6027452"/>
              <a:ext cx="10934700" cy="415497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16" name="Whitespace measure">
              <a:extLst>
                <a:ext uri="{FF2B5EF4-FFF2-40B4-BE49-F238E27FC236}">
                  <a16:creationId xmlns:a16="http://schemas.microsoft.com/office/drawing/2014/main" id="{52C4C0ED-EE24-4095-925C-23657B2BF7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1563644"/>
              <a:ext cx="10934700" cy="517569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grpSp>
          <p:nvGrpSpPr>
            <p:cNvPr id="117" name="Five column measure">
              <a:extLst>
                <a:ext uri="{FF2B5EF4-FFF2-40B4-BE49-F238E27FC236}">
                  <a16:creationId xmlns:a16="http://schemas.microsoft.com/office/drawing/2014/main" id="{AE1C1A0A-1E6B-4510-88CD-5CABA6FD7D1C}"/>
                </a:ext>
              </a:extLst>
            </p:cNvPr>
            <p:cNvGrpSpPr/>
            <p:nvPr/>
          </p:nvGrpSpPr>
          <p:grpSpPr>
            <a:xfrm>
              <a:off x="629400" y="5846746"/>
              <a:ext cx="10933200" cy="79536"/>
              <a:chOff x="629400" y="5975122"/>
              <a:chExt cx="10933200" cy="79536"/>
            </a:xfrm>
          </p:grpSpPr>
          <p:sp>
            <p:nvSpPr>
              <p:cNvPr id="120" name="Rectangle 5">
                <a:extLst>
                  <a:ext uri="{FF2B5EF4-FFF2-40B4-BE49-F238E27FC236}">
                    <a16:creationId xmlns:a16="http://schemas.microsoft.com/office/drawing/2014/main" id="{B59DDAFB-82B0-4446-A40F-517506448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1" name="Rectangle 7">
                <a:extLst>
                  <a:ext uri="{FF2B5EF4-FFF2-40B4-BE49-F238E27FC236}">
                    <a16:creationId xmlns:a16="http://schemas.microsoft.com/office/drawing/2014/main" id="{7764FAB5-E13D-48F6-B5CE-21163F89FF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2" name="Rectangle 9">
                <a:extLst>
                  <a:ext uri="{FF2B5EF4-FFF2-40B4-BE49-F238E27FC236}">
                    <a16:creationId xmlns:a16="http://schemas.microsoft.com/office/drawing/2014/main" id="{E3299C03-2582-49C1-A161-6FCFACC523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3" name="Rectangle 11">
                <a:extLst>
                  <a:ext uri="{FF2B5EF4-FFF2-40B4-BE49-F238E27FC236}">
                    <a16:creationId xmlns:a16="http://schemas.microsoft.com/office/drawing/2014/main" id="{E76B5887-1E00-4A06-AEBD-421E1F2A8F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124" name="Rectangle 13">
                <a:extLst>
                  <a:ext uri="{FF2B5EF4-FFF2-40B4-BE49-F238E27FC236}">
                    <a16:creationId xmlns:a16="http://schemas.microsoft.com/office/drawing/2014/main" id="{60E79BC3-FB4F-4D0C-B519-0399982C7D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118" name="Live area">
              <a:extLst>
                <a:ext uri="{FF2B5EF4-FFF2-40B4-BE49-F238E27FC236}">
                  <a16:creationId xmlns:a16="http://schemas.microsoft.com/office/drawing/2014/main" id="{551E057E-47F1-49C0-A8E0-32F9D5A70137}"/>
                </a:ext>
              </a:extLst>
            </p:cNvPr>
            <p:cNvSpPr/>
            <p:nvPr/>
          </p:nvSpPr>
          <p:spPr>
            <a:xfrm>
              <a:off x="628650" y="2081213"/>
              <a:ext cx="10934700" cy="394623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1251B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>
                <a:solidFill>
                  <a:schemeClr val="bg1"/>
                </a:solidFill>
              </a:endParaRPr>
            </a:p>
          </p:txBody>
        </p:sp>
        <p:sp>
          <p:nvSpPr>
            <p:cNvPr id="119" name="Footnote example">
              <a:extLst>
                <a:ext uri="{FF2B5EF4-FFF2-40B4-BE49-F238E27FC236}">
                  <a16:creationId xmlns:a16="http://schemas.microsoft.com/office/drawing/2014/main" id="{BFDE0E7D-0074-4949-A792-A08AAD636E17}"/>
                </a:ext>
              </a:extLst>
            </p:cNvPr>
            <p:cNvSpPr txBox="1"/>
            <p:nvPr/>
          </p:nvSpPr>
          <p:spPr>
            <a:xfrm>
              <a:off x="630000" y="6131325"/>
              <a:ext cx="9030914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75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xxxx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75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75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53994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290826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52C719C-D696-4502-83BD-76BEB212E9BF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/>
        </p:blipFill>
        <p:spPr>
          <a:xfrm>
            <a:off x="0" y="0"/>
            <a:ext cx="9144000" cy="686409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9CFFB197-5414-42AB-A48D-8A15AD6FCBF2}"/>
              </a:ext>
            </a:extLst>
          </p:cNvPr>
          <p:cNvSpPr/>
          <p:nvPr userDrawn="1"/>
        </p:nvSpPr>
        <p:spPr>
          <a:xfrm>
            <a:off x="3" y="4"/>
            <a:ext cx="139775" cy="6857999"/>
          </a:xfrm>
          <a:prstGeom prst="rect">
            <a:avLst/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9476FA9C-7423-4A7B-8E2F-11E3F659E0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6981" y="3214918"/>
            <a:ext cx="7930038" cy="1678909"/>
          </a:xfrm>
        </p:spPr>
        <p:txBody>
          <a:bodyPr lIns="91440" tIns="45720" rIns="91440" bIns="45720">
            <a:normAutofit/>
          </a:bodyPr>
          <a:lstStyle>
            <a:lvl1pPr marL="0" indent="0" algn="l">
              <a:lnSpc>
                <a:spcPct val="90000"/>
              </a:lnSpc>
              <a:buNone/>
              <a:defRPr sz="1350"/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8576708B-E713-409E-B5B8-A804FA508A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9509" y="6088723"/>
            <a:ext cx="2057400" cy="36576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>
              <a:defRPr sz="105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pPr/>
              <a:t>2/23/2024</a:t>
            </a:fld>
            <a:endParaRPr lang="en-US"/>
          </a:p>
        </p:txBody>
      </p:sp>
      <p:sp>
        <p:nvSpPr>
          <p:cNvPr id="24" name="Title 13">
            <a:extLst>
              <a:ext uri="{FF2B5EF4-FFF2-40B4-BE49-F238E27FC236}">
                <a16:creationId xmlns:a16="http://schemas.microsoft.com/office/drawing/2014/main" id="{79CE4D10-68D9-407E-A2C9-99EA386625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981" y="1475832"/>
            <a:ext cx="7930038" cy="1678909"/>
          </a:xfrm>
        </p:spPr>
        <p:txBody>
          <a:bodyPr vert="horz" lIns="91440" tIns="45720" rIns="91440" bIns="45720" anchor="b">
            <a:noAutofit/>
          </a:bodyPr>
          <a:lstStyle>
            <a:lvl1pPr>
              <a:defRPr sz="315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Copyright">
            <a:extLst>
              <a:ext uri="{FF2B5EF4-FFF2-40B4-BE49-F238E27FC236}">
                <a16:creationId xmlns:a16="http://schemas.microsoft.com/office/drawing/2014/main" id="{994DDA34-D8BC-4627-BADB-C520D90E3E67}"/>
              </a:ext>
            </a:extLst>
          </p:cNvPr>
          <p:cNvSpPr txBox="1"/>
          <p:nvPr userDrawn="1"/>
        </p:nvSpPr>
        <p:spPr>
          <a:xfrm>
            <a:off x="317452" y="6554877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pic>
        <p:nvPicPr>
          <p:cNvPr id="28" name="Picture 27" descr="A picture containing clock&#10;&#10;Description automatically generated">
            <a:extLst>
              <a:ext uri="{FF2B5EF4-FFF2-40B4-BE49-F238E27FC236}">
                <a16:creationId xmlns:a16="http://schemas.microsoft.com/office/drawing/2014/main" id="{E6516FC0-4DCB-4F6D-B20D-D6A43E175E6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248571" y="6005583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74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EADFBBF-617C-4E9B-BCEA-CB96AEBA35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63235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ADFBBF-617C-4E9B-BCEA-CB96AEBA35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8200013" cy="353174"/>
          </a:xfrm>
        </p:spPr>
        <p:txBody>
          <a:bodyPr vert="horz"/>
          <a:lstStyle>
            <a:lvl1pPr>
              <a:defRPr sz="255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2081214"/>
            <a:ext cx="8201025" cy="39462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2681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 not remove" hidden="1">
            <a:extLst>
              <a:ext uri="{FF2B5EF4-FFF2-40B4-BE49-F238E27FC236}">
                <a16:creationId xmlns:a16="http://schemas.microsoft.com/office/drawing/2014/main" id="{29B4141A-E46E-432C-A840-1B57FC08162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525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8C6F3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38C6F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9AC102B-3E7F-4092-83C3-3522B31118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773233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AC102B-3E7F-4092-83C3-3522B31118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8200013" cy="249299"/>
          </a:xfrm>
        </p:spPr>
        <p:txBody>
          <a:bodyPr vert="horz"/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5159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5639C2F-13CA-494C-94E6-BFB4593CEB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417936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639C2F-13CA-494C-94E6-BFB4593CEB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2081214"/>
            <a:ext cx="8201025" cy="394623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442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C017E3C-8937-481E-B81C-39665FD49F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718805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017E3C-8937-481E-B81C-39665FD49F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967DC99F-E926-4D09-B936-C5971C95D8F9}"/>
              </a:ext>
            </a:extLst>
          </p:cNvPr>
          <p:cNvSpPr/>
          <p:nvPr userDrawn="1"/>
        </p:nvSpPr>
        <p:spPr>
          <a:xfrm>
            <a:off x="0" y="0"/>
            <a:ext cx="9144000" cy="299076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35208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500" y="2158988"/>
            <a:ext cx="2808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1227049"/>
            <a:ext cx="2808000" cy="664797"/>
          </a:xfrm>
        </p:spPr>
        <p:txBody>
          <a:bodyPr vert="horz" anchor="t">
            <a:noAutofit/>
          </a:bodyPr>
          <a:lstStyle>
            <a:lvl1pPr>
              <a:defRPr sz="18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D9B4C64-710B-405F-8D64-25BB463DD192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E7257B-A3D4-425B-9312-DE98D0907615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9347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C3356A1-FF1D-4EB9-9324-000E845603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382809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3356A1-FF1D-4EB9-9324-000E845603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1488" y="2668041"/>
            <a:ext cx="8201025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471488" y="1424082"/>
            <a:ext cx="71379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384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61BC5B3-7CF1-45E7-8571-D2693A59D3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061459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1BC5B3-7CF1-45E7-8571-D2693A59D3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1488" y="3826800"/>
            <a:ext cx="8201025" cy="2041200"/>
          </a:xfrm>
        </p:spPr>
        <p:txBody>
          <a:bodyPr vert="horz" anchor="t">
            <a:noAutofit/>
          </a:bodyPr>
          <a:lstStyle>
            <a:lvl1pPr>
              <a:defRPr sz="405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1488" y="3680016"/>
            <a:ext cx="8669953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9047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369B7DC-1E9F-4921-9F07-7918341C5A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557551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69B7DC-1E9F-4921-9F07-7918341C5A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059631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18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08459A17-E4B7-4580-A9E7-EE79E6FF8D97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05F59D-5F50-4BD6-8A11-63321B6D1A76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5" name="Picture 14" descr="A picture containing clock&#10;&#10;Description automatically generated">
            <a:extLst>
              <a:ext uri="{FF2B5EF4-FFF2-40B4-BE49-F238E27FC236}">
                <a16:creationId xmlns:a16="http://schemas.microsoft.com/office/drawing/2014/main" id="{10C5C9FB-129F-488F-ADA6-F1746C65E7E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528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FC16F76-FC2A-40B3-B447-FDB7337856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955052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C16F76-FC2A-40B3-B447-FDB733785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537896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4707397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E525093-49FA-4B42-B10C-64A30CF34938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B55892B-541F-4DEC-A9C4-68C07A0DC82B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6" name="Picture 15" descr="A picture containing clock&#10;&#10;Description automatically generated">
            <a:extLst>
              <a:ext uri="{FF2B5EF4-FFF2-40B4-BE49-F238E27FC236}">
                <a16:creationId xmlns:a16="http://schemas.microsoft.com/office/drawing/2014/main" id="{2564FDA4-125D-4D50-A78A-1F297FBF296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627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3A886A8-A21A-4D7D-9581-57D52773C6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674731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A886A8-A21A-4D7D-9581-57D52773C6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5" y="0"/>
            <a:ext cx="312713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6076188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4B1A876D-6EBC-4454-8FD4-A5127E3ED2D9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D1D0F9D-7918-440A-A7EB-2038892F3C66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8" name="Picture 17" descr="A picture containing clock&#10;&#10;Description automatically generated">
            <a:extLst>
              <a:ext uri="{FF2B5EF4-FFF2-40B4-BE49-F238E27FC236}">
                <a16:creationId xmlns:a16="http://schemas.microsoft.com/office/drawing/2014/main" id="{D895F0B0-9196-4D31-8CE9-E194A43BF00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515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D963C889-E85C-D29E-F36E-FA97815D75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525" cy="12700"/>
          </a:xfrm>
          <a:prstGeom prst="octagon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8C6F3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38C6F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6D2032-1E12-4872-953C-395990DE94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4086851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6D2032-1E12-4872-953C-395990DE9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60573" y="-1309"/>
            <a:ext cx="6083428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7DE91006-2E60-42EB-9B37-ADD2CDA8D8D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3" name="Copyright">
            <a:extLst>
              <a:ext uri="{FF2B5EF4-FFF2-40B4-BE49-F238E27FC236}">
                <a16:creationId xmlns:a16="http://schemas.microsoft.com/office/drawing/2014/main" id="{92633160-3B74-42DD-8F03-08060631BC79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D1708B0-DF9D-4C71-BCD0-47351D21627B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3136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2FCC05E-857C-486A-909B-172052F1FB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076068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FCC05E-857C-486A-909B-172052F1FB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785600"/>
            <a:ext cx="32913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 descr="A picture containing clock&#10;&#10;Description automatically generated">
            <a:extLst>
              <a:ext uri="{FF2B5EF4-FFF2-40B4-BE49-F238E27FC236}">
                <a16:creationId xmlns:a16="http://schemas.microsoft.com/office/drawing/2014/main" id="{C5256C72-F756-4671-B7F8-213AEB8BE85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9" name="Copyright">
            <a:extLst>
              <a:ext uri="{FF2B5EF4-FFF2-40B4-BE49-F238E27FC236}">
                <a16:creationId xmlns:a16="http://schemas.microsoft.com/office/drawing/2014/main" id="{C9EA76F3-418B-44C8-A221-9B8C8294CFD4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8D684A-3CEB-486E-967B-E230C432FFC4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041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F5213D7-C4A0-4E43-B75A-4B6180D1F5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60625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5213D7-C4A0-4E43-B75A-4B6180D1F5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2FCCF31-3442-4D34-B48D-12E0B8880D52}"/>
              </a:ext>
            </a:extLst>
          </p:cNvPr>
          <p:cNvSpPr/>
          <p:nvPr userDrawn="1"/>
        </p:nvSpPr>
        <p:spPr>
          <a:xfrm>
            <a:off x="0" y="0"/>
            <a:ext cx="9144000" cy="299076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35208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500" y="1544274"/>
            <a:ext cx="25893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255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E7BC873C-35EE-48BD-983A-83E7F19C30AD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3C75DC5-CC3C-4E50-80D4-B8277C6BEF22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4973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2387F8E-2093-4218-8957-D4167377FF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30955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387F8E-2093-4218-8957-D4167377FF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864658" y="0"/>
            <a:ext cx="3279343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3202" y="1785600"/>
            <a:ext cx="4685664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7" name="Picture 16" descr="A picture containing clock&#10;&#10;Description automatically generated">
            <a:extLst>
              <a:ext uri="{FF2B5EF4-FFF2-40B4-BE49-F238E27FC236}">
                <a16:creationId xmlns:a16="http://schemas.microsoft.com/office/drawing/2014/main" id="{B27429DE-A2C7-4BDF-A525-DB923C9C06F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8" name="Copyright">
            <a:extLst>
              <a:ext uri="{FF2B5EF4-FFF2-40B4-BE49-F238E27FC236}">
                <a16:creationId xmlns:a16="http://schemas.microsoft.com/office/drawing/2014/main" id="{84853A4C-2BF2-49DE-A95B-8FB00A193617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3227EB9-5E83-4325-96A8-BA36A4E07A6F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3805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578980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31" y="3590399"/>
            <a:ext cx="102393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>
            <a:extLst>
              <a:ext uri="{FF2B5EF4-FFF2-40B4-BE49-F238E27FC236}">
                <a16:creationId xmlns:a16="http://schemas.microsoft.com/office/drawing/2014/main" id="{3F5EAB28-DB5E-43E3-8CD8-498BA4B46B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Copyright">
            <a:extLst>
              <a:ext uri="{FF2B5EF4-FFF2-40B4-BE49-F238E27FC236}">
                <a16:creationId xmlns:a16="http://schemas.microsoft.com/office/drawing/2014/main" id="{7881D1CD-0BD4-4F3F-8862-BE0278523BDD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D1B91FB-B557-457F-9C6A-61B5F48DB0A6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9" name="Picture 18" descr="A picture containing clock&#10;&#10;Description automatically generated">
            <a:extLst>
              <a:ext uri="{FF2B5EF4-FFF2-40B4-BE49-F238E27FC236}">
                <a16:creationId xmlns:a16="http://schemas.microsoft.com/office/drawing/2014/main" id="{33DEFF83-B2F2-4FE3-98DC-57FA721C7B5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996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AFA1512-9FF3-4236-B941-D56E9C7D07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245138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FA1512-9FF3-4236-B941-D56E9C7D07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30981" y="3402829"/>
            <a:ext cx="2021000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1" name="Picture 10" descr="A picture containing clock&#10;&#10;Description automatically generated">
            <a:extLst>
              <a:ext uri="{FF2B5EF4-FFF2-40B4-BE49-F238E27FC236}">
                <a16:creationId xmlns:a16="http://schemas.microsoft.com/office/drawing/2014/main" id="{EA4BDE06-BB30-4AD7-B046-C74C929DBA9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2" name="Copyright">
            <a:extLst>
              <a:ext uri="{FF2B5EF4-FFF2-40B4-BE49-F238E27FC236}">
                <a16:creationId xmlns:a16="http://schemas.microsoft.com/office/drawing/2014/main" id="{89C49FFD-9996-4290-8F8E-3DF9D74AFA1D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5F0785-2F46-4010-B5FD-A7870DA27139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19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2382DE1-C68A-42AB-84D6-8B1172ED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25557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382DE1-C68A-42AB-84D6-8B1172ED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 b="1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144" y="3394393"/>
            <a:ext cx="973931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pyright">
            <a:extLst>
              <a:ext uri="{FF2B5EF4-FFF2-40B4-BE49-F238E27FC236}">
                <a16:creationId xmlns:a16="http://schemas.microsoft.com/office/drawing/2014/main" id="{270BEA33-0118-481A-8003-B6AA5FE1630A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C4A57A9-FD52-4E11-9615-85974FA4B865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5" name="Picture 14" descr="A picture containing clock&#10;&#10;Description automatically generated">
            <a:extLst>
              <a:ext uri="{FF2B5EF4-FFF2-40B4-BE49-F238E27FC236}">
                <a16:creationId xmlns:a16="http://schemas.microsoft.com/office/drawing/2014/main" id="{891BD2E5-8B84-423B-B0AC-ED714962FED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210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935E707-2BC2-41CE-A90F-6950BFA257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68949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35E707-2BC2-41CE-A90F-6950BFA257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300" b="1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83544" y="3416300"/>
            <a:ext cx="2021000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959DA61E-565E-4833-955B-276B17451F0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7" name="Copyright">
            <a:extLst>
              <a:ext uri="{FF2B5EF4-FFF2-40B4-BE49-F238E27FC236}">
                <a16:creationId xmlns:a16="http://schemas.microsoft.com/office/drawing/2014/main" id="{931326E6-CB76-4716-BC80-041CE6C0CD3B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5F5DA6D-9F4A-4C7D-B862-EF08979CA23A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943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DD34CCB-2A6B-400F-8EA2-7A1B67CA9F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759466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D34CCB-2A6B-400F-8EA2-7A1B67CA9F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3560867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3589606"/>
            <a:ext cx="1023938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329BD176-2900-485F-8F0B-BE6F193C406E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BD3381C-64E7-4471-8353-9E10DE13499E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7" name="Picture 16" descr="A picture containing clock&#10;&#10;Description automatically generated">
            <a:extLst>
              <a:ext uri="{FF2B5EF4-FFF2-40B4-BE49-F238E27FC236}">
                <a16:creationId xmlns:a16="http://schemas.microsoft.com/office/drawing/2014/main" id="{C3CB9010-D3B4-4A02-A373-2047BD8C5F0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8253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042C823-D584-4706-B2B1-6768395175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008824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42C823-D584-4706-B2B1-676839517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3560867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45129" y="3407804"/>
            <a:ext cx="2021000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1F9A2A0C-D451-4852-BBA5-CC6C0906D51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3" name="Copyright">
            <a:extLst>
              <a:ext uri="{FF2B5EF4-FFF2-40B4-BE49-F238E27FC236}">
                <a16:creationId xmlns:a16="http://schemas.microsoft.com/office/drawing/2014/main" id="{E9B5CADD-B132-4D2F-9051-199090B871F5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5F83C66-35CA-4D26-A5D8-C8519D723852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179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C83BA3F-B074-4BA5-9C53-B6FE73BA5F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61176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83BA3F-B074-4BA5-9C53-B6FE73BA5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4690872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4" y="3589606"/>
            <a:ext cx="1023938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pyright">
            <a:extLst>
              <a:ext uri="{FF2B5EF4-FFF2-40B4-BE49-F238E27FC236}">
                <a16:creationId xmlns:a16="http://schemas.microsoft.com/office/drawing/2014/main" id="{5655F8F1-2D03-4597-8C28-3140C47D7583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3D023B-3120-432B-AE7E-B88C675D36F0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9" name="Picture 18" descr="A picture containing clock&#10;&#10;Description automatically generated">
            <a:extLst>
              <a:ext uri="{FF2B5EF4-FFF2-40B4-BE49-F238E27FC236}">
                <a16:creationId xmlns:a16="http://schemas.microsoft.com/office/drawing/2014/main" id="{8A923208-7851-49FB-A184-DA31AB6911D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9198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30B25C7-E9DE-4EEC-A9DB-D7CC4D835F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207450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0B25C7-E9DE-4EEC-A9DB-D7CC4D835F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4690872" cy="2492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25721" y="3407804"/>
            <a:ext cx="2021000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1" name="Picture 10" descr="A picture containing clock&#10;&#10;Description automatically generated">
            <a:extLst>
              <a:ext uri="{FF2B5EF4-FFF2-40B4-BE49-F238E27FC236}">
                <a16:creationId xmlns:a16="http://schemas.microsoft.com/office/drawing/2014/main" id="{D95FC53A-5CE8-4F94-8024-E21CD78FE81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3" name="Copyright">
            <a:extLst>
              <a:ext uri="{FF2B5EF4-FFF2-40B4-BE49-F238E27FC236}">
                <a16:creationId xmlns:a16="http://schemas.microsoft.com/office/drawing/2014/main" id="{4F543B96-D552-4A83-85AD-B76B06C5C95A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1DFDA6A-BF08-48E7-975D-B9C8CC1E93FC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526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E9CDF53-BF51-4C57-BA76-862A9FD564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144681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9CDF53-BF51-4C57-BA76-862A9FD564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1488" y="3826333"/>
            <a:ext cx="8201025" cy="1606550"/>
          </a:xfrm>
        </p:spPr>
        <p:txBody>
          <a:bodyPr vert="horz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BA6674AB-3D43-4CF9-BC46-ABDCDE31DD9F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26A57B-8DDF-4777-9C83-C220F0E3918F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4" name="Picture 13" descr="A picture containing clock&#10;&#10;Description automatically generated">
            <a:extLst>
              <a:ext uri="{FF2B5EF4-FFF2-40B4-BE49-F238E27FC236}">
                <a16:creationId xmlns:a16="http://schemas.microsoft.com/office/drawing/2014/main" id="{5B3604B0-5300-4058-A697-E1608F36E5F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0614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8B038C6-1F61-4E85-A548-BD04BDE75A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092720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B038C6-1F61-4E85-A548-BD04BDE75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1488" y="2668041"/>
            <a:ext cx="8201025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471488" y="1428131"/>
            <a:ext cx="710754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D71B1E2E-A2E4-429B-BFCF-BE3B5870F80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019081-F039-4CD5-A839-B6F7976BEA78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4" name="Picture 13" descr="A picture containing clock&#10;&#10;Description automatically generated">
            <a:extLst>
              <a:ext uri="{FF2B5EF4-FFF2-40B4-BE49-F238E27FC236}">
                <a16:creationId xmlns:a16="http://schemas.microsoft.com/office/drawing/2014/main" id="{53E24EA9-913A-4247-B05E-F892328BC65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02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DBFB33B-5A10-4E34-8A62-A506B5947A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73513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BFB33B-5A10-4E34-8A62-A506B5947A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1488" y="625475"/>
            <a:ext cx="699516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1488" y="3826333"/>
            <a:ext cx="8201025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9678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2654770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01939" y="1353921"/>
            <a:ext cx="769257" cy="7514866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38C6F3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 descr="A picture containing clock&#10;&#10;Description automatically generated">
            <a:extLst>
              <a:ext uri="{FF2B5EF4-FFF2-40B4-BE49-F238E27FC236}">
                <a16:creationId xmlns:a16="http://schemas.microsoft.com/office/drawing/2014/main" id="{39FEB5BC-ED68-4E74-BC50-95E58A7689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1" name="Copyright">
            <a:extLst>
              <a:ext uri="{FF2B5EF4-FFF2-40B4-BE49-F238E27FC236}">
                <a16:creationId xmlns:a16="http://schemas.microsoft.com/office/drawing/2014/main" id="{F09169E8-8DEE-4B9C-B378-A780016BE6CA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FF7E71D-1C06-44E2-BEAB-E9B0D8F0812A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73258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BFCB526-01A6-4758-8194-45A3AB121D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262480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FCB526-01A6-4758-8194-45A3AB121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8199900" cy="2492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8" descr="A picture containing clock&#10;&#10;Description automatically generated">
            <a:extLst>
              <a:ext uri="{FF2B5EF4-FFF2-40B4-BE49-F238E27FC236}">
                <a16:creationId xmlns:a16="http://schemas.microsoft.com/office/drawing/2014/main" id="{6F0B7ADB-CB7E-4C88-BFB4-72FEC841AA2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0" name="Copyright">
            <a:extLst>
              <a:ext uri="{FF2B5EF4-FFF2-40B4-BE49-F238E27FC236}">
                <a16:creationId xmlns:a16="http://schemas.microsoft.com/office/drawing/2014/main" id="{FB780D6F-9FAE-41BF-B809-61320C3E352E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E1CB9EC-D92E-4359-AEAE-A47FB53CF393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56907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722A73-1681-4FF8-81B4-AFD7234FC0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635636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722A73-1681-4FF8-81B4-AFD7234FC0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2821622"/>
            <a:ext cx="2194560" cy="12743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b="1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3586748"/>
            <a:ext cx="1023938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opyright">
            <a:extLst>
              <a:ext uri="{FF2B5EF4-FFF2-40B4-BE49-F238E27FC236}">
                <a16:creationId xmlns:a16="http://schemas.microsoft.com/office/drawing/2014/main" id="{F352B8A1-87F8-49A7-826F-28739137CE27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F87C1EA-A72E-461B-9971-4E79A264C200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8" name="Picture 17" descr="A picture containing clock&#10;&#10;Description automatically generated">
            <a:extLst>
              <a:ext uri="{FF2B5EF4-FFF2-40B4-BE49-F238E27FC236}">
                <a16:creationId xmlns:a16="http://schemas.microsoft.com/office/drawing/2014/main" id="{3027ABE8-19F4-4202-999B-B02E2E492C4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017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78B1231-F74F-4BE7-9AE6-5B33DC3EA2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016822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8B1231-F74F-4BE7-9AE6-5B33DC3EA2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6CBAD190-C195-4D75-8DCC-7BCD4AA86239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6A3BC4F-1AD2-4DCE-8D4F-435C3E444368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10CB0939-2939-4F2D-A0CC-61E1D7B33C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269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D8B6117-2238-43B0-B25C-3528DEA850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637372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8B6117-2238-43B0-B25C-3528DEA850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34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B64E423-2BDA-4DD4-B1D5-4CBF40F3CD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488076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64E423-2BDA-4DD4-B1D5-4CBF40F3CD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742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1061473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DAED2B23-D52E-4891-AD50-194576C0DE63}"/>
              </a:ext>
            </a:extLst>
          </p:cNvPr>
          <p:cNvPicPr>
            <a:picLocks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9144000" cy="686409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1D7C225-4809-4651-8731-6DBA0089BE8D}"/>
              </a:ext>
            </a:extLst>
          </p:cNvPr>
          <p:cNvSpPr/>
          <p:nvPr userDrawn="1"/>
        </p:nvSpPr>
        <p:spPr>
          <a:xfrm>
            <a:off x="3" y="4"/>
            <a:ext cx="139775" cy="6857999"/>
          </a:xfrm>
          <a:prstGeom prst="rect">
            <a:avLst/>
          </a:prstGeom>
          <a:solidFill>
            <a:srgbClr val="38C6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3317FBB5-2C3C-40E7-832D-24C4A00C08E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17597" y="2352955"/>
            <a:ext cx="4108811" cy="1453457"/>
          </a:xfrm>
          <a:prstGeom prst="rect">
            <a:avLst/>
          </a:prstGeom>
        </p:spPr>
      </p:pic>
      <p:sp>
        <p:nvSpPr>
          <p:cNvPr id="13" name="Copyright">
            <a:extLst>
              <a:ext uri="{FF2B5EF4-FFF2-40B4-BE49-F238E27FC236}">
                <a16:creationId xmlns:a16="http://schemas.microsoft.com/office/drawing/2014/main" id="{94BB9847-FC4F-4E22-B37F-ABD0DADB2D5E}"/>
              </a:ext>
            </a:extLst>
          </p:cNvPr>
          <p:cNvSpPr txBox="1"/>
          <p:nvPr userDrawn="1"/>
        </p:nvSpPr>
        <p:spPr>
          <a:xfrm>
            <a:off x="317452" y="6554877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4109552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A675F7C-8402-4FE3-9DA9-B7E3D6D0A9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095403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675F7C-8402-4FE3-9DA9-B7E3D6D0A9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8FB8F23F-3F0F-4111-A03C-C598005CBF97}"/>
              </a:ext>
            </a:extLst>
          </p:cNvPr>
          <p:cNvGrpSpPr/>
          <p:nvPr userDrawn="1"/>
        </p:nvGrpSpPr>
        <p:grpSpPr>
          <a:xfrm>
            <a:off x="-450" y="-1"/>
            <a:ext cx="9145350" cy="6858001"/>
            <a:chOff x="-600" y="-1"/>
            <a:chExt cx="12193800" cy="6858001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038D210-2A1C-4EBC-B952-EF4519B0CD95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22801 h 6858000"/>
                <a:gd name="connsiteX2" fmla="*/ 628650 w 12193200"/>
                <a:gd name="connsiteY2" fmla="*/ 622801 h 6858000"/>
                <a:gd name="connsiteX3" fmla="*/ 628650 w 12193200"/>
                <a:gd name="connsiteY3" fmla="*/ 6442949 h 6858000"/>
                <a:gd name="connsiteX4" fmla="*/ 11563350 w 12193200"/>
                <a:gd name="connsiteY4" fmla="*/ 6442949 h 6858000"/>
                <a:gd name="connsiteX5" fmla="*/ 11563350 w 12193200"/>
                <a:gd name="connsiteY5" fmla="*/ 622801 h 6858000"/>
                <a:gd name="connsiteX6" fmla="*/ 11562000 w 12193200"/>
                <a:gd name="connsiteY6" fmla="*/ 622801 h 6858000"/>
                <a:gd name="connsiteX7" fmla="*/ 11562000 w 12193200"/>
                <a:gd name="connsiteY7" fmla="*/ 622800 h 6858000"/>
                <a:gd name="connsiteX8" fmla="*/ 0 w 12193200"/>
                <a:gd name="connsiteY8" fmla="*/ 0 h 6858000"/>
                <a:gd name="connsiteX9" fmla="*/ 12193200 w 12193200"/>
                <a:gd name="connsiteY9" fmla="*/ 0 h 6858000"/>
                <a:gd name="connsiteX10" fmla="*/ 12193200 w 12193200"/>
                <a:gd name="connsiteY10" fmla="*/ 622800 h 6858000"/>
                <a:gd name="connsiteX11" fmla="*/ 12192000 w 12193200"/>
                <a:gd name="connsiteY11" fmla="*/ 622800 h 6858000"/>
                <a:gd name="connsiteX12" fmla="*/ 12192000 w 12193200"/>
                <a:gd name="connsiteY12" fmla="*/ 6160597 h 6858000"/>
                <a:gd name="connsiteX13" fmla="*/ 12193200 w 12193200"/>
                <a:gd name="connsiteY13" fmla="*/ 6160597 h 6858000"/>
                <a:gd name="connsiteX14" fmla="*/ 12193200 w 12193200"/>
                <a:gd name="connsiteY14" fmla="*/ 6858000 h 6858000"/>
                <a:gd name="connsiteX15" fmla="*/ 12192000 w 12193200"/>
                <a:gd name="connsiteY15" fmla="*/ 6858000 h 6858000"/>
                <a:gd name="connsiteX16" fmla="*/ 11562000 w 12193200"/>
                <a:gd name="connsiteY16" fmla="*/ 6858000 h 6858000"/>
                <a:gd name="connsiteX17" fmla="*/ 630001 w 12193200"/>
                <a:gd name="connsiteY17" fmla="*/ 6858000 h 6858000"/>
                <a:gd name="connsiteX18" fmla="*/ 1 w 12193200"/>
                <a:gd name="connsiteY18" fmla="*/ 6858000 h 6858000"/>
                <a:gd name="connsiteX19" fmla="*/ 1 w 12193200"/>
                <a:gd name="connsiteY19" fmla="*/ 6160597 h 6858000"/>
                <a:gd name="connsiteX20" fmla="*/ 1 w 12193200"/>
                <a:gd name="connsiteY20" fmla="*/ 622800 h 6858000"/>
                <a:gd name="connsiteX21" fmla="*/ 0 w 12193200"/>
                <a:gd name="connsiteY21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22801"/>
                  </a:lnTo>
                  <a:lnTo>
                    <a:pt x="628650" y="622801"/>
                  </a:lnTo>
                  <a:lnTo>
                    <a:pt x="628650" y="6442949"/>
                  </a:lnTo>
                  <a:lnTo>
                    <a:pt x="11563350" y="6442949"/>
                  </a:lnTo>
                  <a:lnTo>
                    <a:pt x="11563350" y="622801"/>
                  </a:lnTo>
                  <a:lnTo>
                    <a:pt x="11562000" y="622801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E1251B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50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ACC4D06E-7DF5-41F3-9C75-F6816BBE1303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D0B285E0-449E-494A-A8FF-3E45D097BD39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29093EA1-7F97-476F-B1D6-451289C72DA8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7F03B404-9742-478B-8333-38073773FDFE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EDD0DB2E-CEF3-47E1-9224-506199D4FF07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EE4A6518-02C6-4AA6-B803-AF8AAD5FC198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47A205C0-3017-4F33-B27C-A266CA18BE46}"/>
                </a:ext>
              </a:extLst>
            </p:cNvPr>
            <p:cNvCxnSpPr/>
            <p:nvPr/>
          </p:nvCxnSpPr>
          <p:spPr>
            <a:xfrm>
              <a:off x="-600" y="236308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4DAF5-BE90-4DC8-B6AC-4B562271F09E}"/>
                </a:ext>
              </a:extLst>
            </p:cNvPr>
            <p:cNvCxnSpPr/>
            <p:nvPr/>
          </p:nvCxnSpPr>
          <p:spPr>
            <a:xfrm>
              <a:off x="-600" y="26449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DE24C659-F10E-4954-AFA7-FA4BF1100F49}"/>
                </a:ext>
              </a:extLst>
            </p:cNvPr>
            <p:cNvCxnSpPr/>
            <p:nvPr/>
          </p:nvCxnSpPr>
          <p:spPr>
            <a:xfrm>
              <a:off x="-600" y="292683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8B2935D-4C73-40A1-BA90-554F0E738C51}"/>
                </a:ext>
              </a:extLst>
            </p:cNvPr>
            <p:cNvCxnSpPr/>
            <p:nvPr/>
          </p:nvCxnSpPr>
          <p:spPr>
            <a:xfrm>
              <a:off x="-600" y="320870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2F2BD5B5-0E7E-4AD2-8D45-2545DBBEDA93}"/>
                </a:ext>
              </a:extLst>
            </p:cNvPr>
            <p:cNvCxnSpPr/>
            <p:nvPr/>
          </p:nvCxnSpPr>
          <p:spPr>
            <a:xfrm>
              <a:off x="-600" y="34905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3320037-5F1F-42E2-9D00-219211D03E5A}"/>
                </a:ext>
              </a:extLst>
            </p:cNvPr>
            <p:cNvCxnSpPr/>
            <p:nvPr/>
          </p:nvCxnSpPr>
          <p:spPr>
            <a:xfrm>
              <a:off x="-600" y="377245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E96BB16-39BD-4814-B4FD-32EC0154FFEE}"/>
                </a:ext>
              </a:extLst>
            </p:cNvPr>
            <p:cNvCxnSpPr/>
            <p:nvPr/>
          </p:nvCxnSpPr>
          <p:spPr>
            <a:xfrm>
              <a:off x="-600" y="405433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15A640E-661E-4641-ADBE-CEEC07337D55}"/>
                </a:ext>
              </a:extLst>
            </p:cNvPr>
            <p:cNvCxnSpPr/>
            <p:nvPr/>
          </p:nvCxnSpPr>
          <p:spPr>
            <a:xfrm>
              <a:off x="-600" y="433620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9103E680-0CC4-493E-8D13-D6DEE69D1E48}"/>
                </a:ext>
              </a:extLst>
            </p:cNvPr>
            <p:cNvCxnSpPr/>
            <p:nvPr/>
          </p:nvCxnSpPr>
          <p:spPr>
            <a:xfrm>
              <a:off x="-600" y="461807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F1DA8684-521B-4906-88DD-DD65DD2FD9FF}"/>
                </a:ext>
              </a:extLst>
            </p:cNvPr>
            <p:cNvCxnSpPr/>
            <p:nvPr/>
          </p:nvCxnSpPr>
          <p:spPr>
            <a:xfrm>
              <a:off x="-600" y="489995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D4F0B14C-5532-437B-AE6B-F2DC5494B4C1}"/>
                </a:ext>
              </a:extLst>
            </p:cNvPr>
            <p:cNvCxnSpPr/>
            <p:nvPr/>
          </p:nvCxnSpPr>
          <p:spPr>
            <a:xfrm>
              <a:off x="-600" y="518182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85CDE833-C0F8-49AD-9C15-6B76B3D8D20C}"/>
                </a:ext>
              </a:extLst>
            </p:cNvPr>
            <p:cNvCxnSpPr/>
            <p:nvPr/>
          </p:nvCxnSpPr>
          <p:spPr>
            <a:xfrm>
              <a:off x="-600" y="546370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158FE9B2-D6FE-4052-AB14-9F5800E63A2C}"/>
                </a:ext>
              </a:extLst>
            </p:cNvPr>
            <p:cNvCxnSpPr/>
            <p:nvPr/>
          </p:nvCxnSpPr>
          <p:spPr>
            <a:xfrm>
              <a:off x="-600" y="57455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3DBAB4A5-E2AD-4B87-86AC-7F57BD9FFFB6}"/>
                </a:ext>
              </a:extLst>
            </p:cNvPr>
            <p:cNvCxnSpPr/>
            <p:nvPr/>
          </p:nvCxnSpPr>
          <p:spPr>
            <a:xfrm>
              <a:off x="-600" y="602745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2" name="Gutter space">
              <a:extLst>
                <a:ext uri="{FF2B5EF4-FFF2-40B4-BE49-F238E27FC236}">
                  <a16:creationId xmlns:a16="http://schemas.microsoft.com/office/drawing/2014/main" id="{892038C0-E609-404B-B090-09F3545B9E2E}"/>
                </a:ext>
              </a:extLst>
            </p:cNvPr>
            <p:cNvGrpSpPr/>
            <p:nvPr/>
          </p:nvGrpSpPr>
          <p:grpSpPr>
            <a:xfrm>
              <a:off x="1277000" y="622800"/>
              <a:ext cx="9638000" cy="5404652"/>
              <a:chOff x="1277000" y="623550"/>
              <a:chExt cx="9638000" cy="5537047"/>
            </a:xfrm>
          </p:grpSpPr>
          <p:sp>
            <p:nvSpPr>
              <p:cNvPr id="84" name="Rectangle 34">
                <a:extLst>
                  <a:ext uri="{FF2B5EF4-FFF2-40B4-BE49-F238E27FC236}">
                    <a16:creationId xmlns:a16="http://schemas.microsoft.com/office/drawing/2014/main" id="{C7D63959-BE42-479A-9A19-186C7FA2BE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5" name="Rectangle 35">
                <a:extLst>
                  <a:ext uri="{FF2B5EF4-FFF2-40B4-BE49-F238E27FC236}">
                    <a16:creationId xmlns:a16="http://schemas.microsoft.com/office/drawing/2014/main" id="{B9DAB377-574A-434D-9B8F-B62F1F12B7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6" name="Rectangle 36">
                <a:extLst>
                  <a:ext uri="{FF2B5EF4-FFF2-40B4-BE49-F238E27FC236}">
                    <a16:creationId xmlns:a16="http://schemas.microsoft.com/office/drawing/2014/main" id="{A43B5FF4-D406-4E05-93D0-B6AFC0B79A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7" name="Rectangle 37">
                <a:extLst>
                  <a:ext uri="{FF2B5EF4-FFF2-40B4-BE49-F238E27FC236}">
                    <a16:creationId xmlns:a16="http://schemas.microsoft.com/office/drawing/2014/main" id="{49D9FA57-854F-4236-9A79-DF32870D6C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8" name="Rectangle 38">
                <a:extLst>
                  <a:ext uri="{FF2B5EF4-FFF2-40B4-BE49-F238E27FC236}">
                    <a16:creationId xmlns:a16="http://schemas.microsoft.com/office/drawing/2014/main" id="{D7D46901-4D4B-4145-815F-D176739F66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9" name="Rectangle 39">
                <a:extLst>
                  <a:ext uri="{FF2B5EF4-FFF2-40B4-BE49-F238E27FC236}">
                    <a16:creationId xmlns:a16="http://schemas.microsoft.com/office/drawing/2014/main" id="{B3912C0F-1E88-4825-9CD4-8801D2876C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0" name="Rectangle 40">
                <a:extLst>
                  <a:ext uri="{FF2B5EF4-FFF2-40B4-BE49-F238E27FC236}">
                    <a16:creationId xmlns:a16="http://schemas.microsoft.com/office/drawing/2014/main" id="{06454163-A7CF-4D60-92CC-ADC6D20571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1" name="Rectangle 41">
                <a:extLst>
                  <a:ext uri="{FF2B5EF4-FFF2-40B4-BE49-F238E27FC236}">
                    <a16:creationId xmlns:a16="http://schemas.microsoft.com/office/drawing/2014/main" id="{3259DCEF-EE24-4BF6-923D-ED79FAF18D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2" name="Rectangle 42">
                <a:extLst>
                  <a:ext uri="{FF2B5EF4-FFF2-40B4-BE49-F238E27FC236}">
                    <a16:creationId xmlns:a16="http://schemas.microsoft.com/office/drawing/2014/main" id="{48D3B193-52FA-4F4E-83DA-A1D22A15C6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3" name="Rectangle 43">
                <a:extLst>
                  <a:ext uri="{FF2B5EF4-FFF2-40B4-BE49-F238E27FC236}">
                    <a16:creationId xmlns:a16="http://schemas.microsoft.com/office/drawing/2014/main" id="{A8038870-54BF-4E4C-91DC-10C238497B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94" name="Rectangle 44">
                <a:extLst>
                  <a:ext uri="{FF2B5EF4-FFF2-40B4-BE49-F238E27FC236}">
                    <a16:creationId xmlns:a16="http://schemas.microsoft.com/office/drawing/2014/main" id="{4AD96902-B04F-48C1-9379-C4F0BEBB9D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73" name="Slide edges">
              <a:extLst>
                <a:ext uri="{FF2B5EF4-FFF2-40B4-BE49-F238E27FC236}">
                  <a16:creationId xmlns:a16="http://schemas.microsoft.com/office/drawing/2014/main" id="{2C4B923F-34A0-4E27-84A9-D295A1328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4" name="Footnote measure">
              <a:extLst>
                <a:ext uri="{FF2B5EF4-FFF2-40B4-BE49-F238E27FC236}">
                  <a16:creationId xmlns:a16="http://schemas.microsoft.com/office/drawing/2014/main" id="{0CFA4B13-A820-4F12-80B0-5527587B46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6027452"/>
              <a:ext cx="10934700" cy="415497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75" name="Whitespace measure">
              <a:extLst>
                <a:ext uri="{FF2B5EF4-FFF2-40B4-BE49-F238E27FC236}">
                  <a16:creationId xmlns:a16="http://schemas.microsoft.com/office/drawing/2014/main" id="{C7B08E65-8DA9-4767-B076-6280963C6D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1563644"/>
              <a:ext cx="10934700" cy="517569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grpSp>
          <p:nvGrpSpPr>
            <p:cNvPr id="76" name="Five column measure">
              <a:extLst>
                <a:ext uri="{FF2B5EF4-FFF2-40B4-BE49-F238E27FC236}">
                  <a16:creationId xmlns:a16="http://schemas.microsoft.com/office/drawing/2014/main" id="{8EA9FEAD-86D7-4495-8679-BF3C8B7C127E}"/>
                </a:ext>
              </a:extLst>
            </p:cNvPr>
            <p:cNvGrpSpPr/>
            <p:nvPr/>
          </p:nvGrpSpPr>
          <p:grpSpPr>
            <a:xfrm>
              <a:off x="629400" y="5846746"/>
              <a:ext cx="10933200" cy="79536"/>
              <a:chOff x="629400" y="5975122"/>
              <a:chExt cx="10933200" cy="79536"/>
            </a:xfrm>
          </p:grpSpPr>
          <p:sp>
            <p:nvSpPr>
              <p:cNvPr id="79" name="Rectangle 5">
                <a:extLst>
                  <a:ext uri="{FF2B5EF4-FFF2-40B4-BE49-F238E27FC236}">
                    <a16:creationId xmlns:a16="http://schemas.microsoft.com/office/drawing/2014/main" id="{7230BCA7-9650-4381-B1FA-AE5AFD3872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0" name="Rectangle 7">
                <a:extLst>
                  <a:ext uri="{FF2B5EF4-FFF2-40B4-BE49-F238E27FC236}">
                    <a16:creationId xmlns:a16="http://schemas.microsoft.com/office/drawing/2014/main" id="{E65E217C-F50E-4901-864C-CEBD9C1E6C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1" name="Rectangle 9">
                <a:extLst>
                  <a:ext uri="{FF2B5EF4-FFF2-40B4-BE49-F238E27FC236}">
                    <a16:creationId xmlns:a16="http://schemas.microsoft.com/office/drawing/2014/main" id="{F45A0167-E152-4156-9759-72E36945C2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2" name="Rectangle 11">
                <a:extLst>
                  <a:ext uri="{FF2B5EF4-FFF2-40B4-BE49-F238E27FC236}">
                    <a16:creationId xmlns:a16="http://schemas.microsoft.com/office/drawing/2014/main" id="{6F93B27B-B4A9-479E-AA73-6446F360F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83" name="Rectangle 13">
                <a:extLst>
                  <a:ext uri="{FF2B5EF4-FFF2-40B4-BE49-F238E27FC236}">
                    <a16:creationId xmlns:a16="http://schemas.microsoft.com/office/drawing/2014/main" id="{E6F953BB-5B5E-4A13-98D4-2B62B82C82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77" name="Live area">
              <a:extLst>
                <a:ext uri="{FF2B5EF4-FFF2-40B4-BE49-F238E27FC236}">
                  <a16:creationId xmlns:a16="http://schemas.microsoft.com/office/drawing/2014/main" id="{69E9EC94-A8DA-4F27-9A0F-0276232E659B}"/>
                </a:ext>
              </a:extLst>
            </p:cNvPr>
            <p:cNvSpPr/>
            <p:nvPr/>
          </p:nvSpPr>
          <p:spPr>
            <a:xfrm>
              <a:off x="628650" y="2081213"/>
              <a:ext cx="10934700" cy="394623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1251B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>
                <a:solidFill>
                  <a:schemeClr val="bg1"/>
                </a:solidFill>
              </a:endParaRPr>
            </a:p>
          </p:txBody>
        </p:sp>
        <p:sp>
          <p:nvSpPr>
            <p:cNvPr id="78" name="Footnote example">
              <a:extLst>
                <a:ext uri="{FF2B5EF4-FFF2-40B4-BE49-F238E27FC236}">
                  <a16:creationId xmlns:a16="http://schemas.microsoft.com/office/drawing/2014/main" id="{E1EAB825-D6CC-43CC-8FCE-FCD72F1EC330}"/>
                </a:ext>
              </a:extLst>
            </p:cNvPr>
            <p:cNvSpPr txBox="1"/>
            <p:nvPr/>
          </p:nvSpPr>
          <p:spPr>
            <a:xfrm>
              <a:off x="630000" y="6131325"/>
              <a:ext cx="9030914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75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xxxx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75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75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6660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043394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041109" y="4691187"/>
            <a:ext cx="697003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1882112" y="4691187"/>
            <a:ext cx="1177614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72500" y="907198"/>
            <a:ext cx="25866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721014" y="1115416"/>
            <a:ext cx="2089033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5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5FBBB008-C15F-4385-8AF2-26220C76E17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611AD04-71D5-4EB4-B720-07195090C708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5" name="Picture 14" descr="A picture containing clock&#10;&#10;Description automatically generated">
            <a:extLst>
              <a:ext uri="{FF2B5EF4-FFF2-40B4-BE49-F238E27FC236}">
                <a16:creationId xmlns:a16="http://schemas.microsoft.com/office/drawing/2014/main" id="{A76BF9D1-0441-4EF3-AA22-EBF87B98FD1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193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F8F04BC-ED97-48AC-8DDB-98EE63ECC0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400336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8F04BC-ED97-48AC-8DDB-98EE63ECC0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1488" y="3826800"/>
            <a:ext cx="8201025" cy="2041200"/>
          </a:xfrm>
        </p:spPr>
        <p:txBody>
          <a:bodyPr vert="horz" anchor="t">
            <a:noAutofit/>
          </a:bodyPr>
          <a:lstStyle>
            <a:lvl1pPr>
              <a:defRPr sz="405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71488" y="3680016"/>
            <a:ext cx="867491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pyright">
            <a:extLst>
              <a:ext uri="{FF2B5EF4-FFF2-40B4-BE49-F238E27FC236}">
                <a16:creationId xmlns:a16="http://schemas.microsoft.com/office/drawing/2014/main" id="{3BFF703C-2F6E-43B8-8831-948029A73FE9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E381DF-0FCD-439F-8A15-6B32C4EB0E8B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1" name="Picture 10" descr="A picture containing clock&#10;&#10;Description automatically generated">
            <a:extLst>
              <a:ext uri="{FF2B5EF4-FFF2-40B4-BE49-F238E27FC236}">
                <a16:creationId xmlns:a16="http://schemas.microsoft.com/office/drawing/2014/main" id="{69814CA5-6831-43E0-B74B-BC5B93C744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155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5897625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963557" y="1428131"/>
            <a:ext cx="710754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63900" y="2667600"/>
            <a:ext cx="72144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33FDC979-F38A-4F7D-BAA7-C4F8B4C76C0C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1EBB948-A68D-468D-8B21-C19D148E1C0D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3850DD30-3641-4796-8A5B-8EEC03E005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4370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243628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472500" y="6228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464174" y="1206000"/>
            <a:ext cx="8682228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>
            <a:extLst>
              <a:ext uri="{FF2B5EF4-FFF2-40B4-BE49-F238E27FC236}">
                <a16:creationId xmlns:a16="http://schemas.microsoft.com/office/drawing/2014/main" id="{E0970931-4CD1-4C69-A4A9-1371AB960D75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4BF8D4-44C0-4538-92BF-226DEAF4A565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pic>
        <p:nvPicPr>
          <p:cNvPr id="12" name="Picture 11" descr="A picture containing clock&#10;&#10;Description automatically generated">
            <a:extLst>
              <a:ext uri="{FF2B5EF4-FFF2-40B4-BE49-F238E27FC236}">
                <a16:creationId xmlns:a16="http://schemas.microsoft.com/office/drawing/2014/main" id="{51531E32-DBAB-48F6-89A9-165B9656301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392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456898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060573" y="-1309"/>
            <a:ext cx="6083428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2499" y="3193865"/>
            <a:ext cx="1234440" cy="3531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55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pic>
        <p:nvPicPr>
          <p:cNvPr id="11" name="Picture 10" descr="A picture containing clock&#10;&#10;Description automatically generated">
            <a:extLst>
              <a:ext uri="{FF2B5EF4-FFF2-40B4-BE49-F238E27FC236}">
                <a16:creationId xmlns:a16="http://schemas.microsoft.com/office/drawing/2014/main" id="{CFFA9FE2-BD76-4A74-B8EC-2E9D8A30F05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2" name="Copyright">
            <a:extLst>
              <a:ext uri="{FF2B5EF4-FFF2-40B4-BE49-F238E27FC236}">
                <a16:creationId xmlns:a16="http://schemas.microsoft.com/office/drawing/2014/main" id="{4E65185A-E651-435F-8CF2-F0C6244D178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2F8416C-A0B6-40E3-9AD9-39F99FB20E2A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4101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4732917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041109" y="4691187"/>
            <a:ext cx="697003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1882112" y="4691187"/>
            <a:ext cx="1177614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2500" y="907197"/>
            <a:ext cx="2586600" cy="34930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459000" tIns="351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721014" y="1115416"/>
            <a:ext cx="2089033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05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1271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84604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963557" y="1428131"/>
            <a:ext cx="710754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963900" y="2667600"/>
            <a:ext cx="72144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400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234104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472500" y="6228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464174" y="1206000"/>
            <a:ext cx="8682228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5086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6052647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060573" y="-1309"/>
            <a:ext cx="6083428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501" y="3262146"/>
            <a:ext cx="870785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18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pic>
        <p:nvPicPr>
          <p:cNvPr id="9" name="Picture 8" descr="A picture containing clock&#10;&#10;Description automatically generated">
            <a:extLst>
              <a:ext uri="{FF2B5EF4-FFF2-40B4-BE49-F238E27FC236}">
                <a16:creationId xmlns:a16="http://schemas.microsoft.com/office/drawing/2014/main" id="{E5728CF6-189C-491E-9966-476AC1F8DC3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2" name="Copyright">
            <a:extLst>
              <a:ext uri="{FF2B5EF4-FFF2-40B4-BE49-F238E27FC236}">
                <a16:creationId xmlns:a16="http://schemas.microsoft.com/office/drawing/2014/main" id="{200573E5-B53C-4CD5-AE07-1CCB97E8C508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8EFCFD1-AE3C-4C8F-B636-488D2B814E0D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691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36921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2821622"/>
            <a:ext cx="2194560" cy="12743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b="1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3586748"/>
            <a:ext cx="1023938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opyright">
            <a:extLst>
              <a:ext uri="{FF2B5EF4-FFF2-40B4-BE49-F238E27FC236}">
                <a16:creationId xmlns:a16="http://schemas.microsoft.com/office/drawing/2014/main" id="{69D471D5-F433-407A-8F8D-98ADBBA1B7A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3FC51D-9E30-459F-8B2E-14C555FC0238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6" name="Picture 15" descr="A picture containing clock&#10;&#10;Description automatically generated">
            <a:extLst>
              <a:ext uri="{FF2B5EF4-FFF2-40B4-BE49-F238E27FC236}">
                <a16:creationId xmlns:a16="http://schemas.microsoft.com/office/drawing/2014/main" id="{40EC5865-6DF7-4582-80C5-63C5CB854C3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985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ur Strate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954546F-7B12-BC44-BC3C-9597E217BD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08921" y="440986"/>
            <a:ext cx="3823238" cy="1325563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add title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B03C80-E95F-6446-BA3A-3B9DD0B808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08921" y="1766551"/>
            <a:ext cx="3823238" cy="3821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9D180B-F656-FCC5-C160-9CA376A5CB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" r="37163"/>
          <a:stretch/>
        </p:blipFill>
        <p:spPr>
          <a:xfrm>
            <a:off x="0" y="251326"/>
            <a:ext cx="4640580" cy="6578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01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5531B03-5991-4204-BB1E-CC0C0CA1F3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4419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531B03-5991-4204-BB1E-CC0C0CA1F3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059631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55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AB197D13-6F4B-42B0-B993-9E96140DA94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1B5FAB-A5FE-494F-A130-E66B908223B0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8" name="Picture 17" descr="A picture containing clock&#10;&#10;Description automatically generated">
            <a:extLst>
              <a:ext uri="{FF2B5EF4-FFF2-40B4-BE49-F238E27FC236}">
                <a16:creationId xmlns:a16="http://schemas.microsoft.com/office/drawing/2014/main" id="{999973C6-E560-49B2-A043-73D01E580C7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789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E337CB5-24FB-487D-A96E-12533329DF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546019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337CB5-24FB-487D-A96E-12533329DF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537896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029E0473-D80F-4456-A93F-EA85F4E38BC6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20EAFE-E6CD-4F91-B634-F2FE99DE0DBD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8" name="Picture 17" descr="A picture containing clock&#10;&#10;Description automatically generated">
            <a:extLst>
              <a:ext uri="{FF2B5EF4-FFF2-40B4-BE49-F238E27FC236}">
                <a16:creationId xmlns:a16="http://schemas.microsoft.com/office/drawing/2014/main" id="{5039122F-8B7E-4E40-8445-C59039A203A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979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38C6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6D6A898-3CB7-4391-AAB0-B6608464F6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27233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D6A898-3CB7-4391-AAB0-B6608464F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55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60573" y="-1309"/>
            <a:ext cx="6083428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7" name="Picture 16" descr="A picture containing clock&#10;&#10;Description automatically generated">
            <a:extLst>
              <a:ext uri="{FF2B5EF4-FFF2-40B4-BE49-F238E27FC236}">
                <a16:creationId xmlns:a16="http://schemas.microsoft.com/office/drawing/2014/main" id="{435BDFD7-4481-4D60-AE3D-4603DB178D3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  <p:sp>
        <p:nvSpPr>
          <p:cNvPr id="18" name="Copyright">
            <a:extLst>
              <a:ext uri="{FF2B5EF4-FFF2-40B4-BE49-F238E27FC236}">
                <a16:creationId xmlns:a16="http://schemas.microsoft.com/office/drawing/2014/main" id="{602685F5-9555-495E-BFCC-3DB7BDBEE8E1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 Lumen Technologies. All Rights Reserved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54FB22A-7FE6-4747-980B-2AB32CAAD33A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l"/>
            <a:fld id="{A1E0C372-B15B-416F-A8B4-89ED8437FA1A}" type="slidenum">
              <a:rPr lang="en-US" sz="750" smtClean="0">
                <a:solidFill>
                  <a:schemeClr val="tx1"/>
                </a:solidFill>
              </a:rPr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4816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367270626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2500" y="622801"/>
            <a:ext cx="8199900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72500" y="2081214"/>
            <a:ext cx="8199900" cy="39462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F4763A8-1A34-4D6D-B77C-B87C88850B7F}"/>
              </a:ext>
            </a:extLst>
          </p:cNvPr>
          <p:cNvSpPr/>
          <p:nvPr userDrawn="1"/>
        </p:nvSpPr>
        <p:spPr>
          <a:xfrm>
            <a:off x="0" y="1"/>
            <a:ext cx="9144000" cy="247805"/>
          </a:xfrm>
          <a:prstGeom prst="rect">
            <a:avLst/>
          </a:prstGeom>
          <a:solidFill>
            <a:srgbClr val="38C6F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4B255341-AAC2-44F3-9E1E-2F4ADFFB571D}"/>
              </a:ext>
            </a:extLst>
          </p:cNvPr>
          <p:cNvSpPr txBox="1"/>
          <p:nvPr userDrawn="1"/>
        </p:nvSpPr>
        <p:spPr>
          <a:xfrm>
            <a:off x="662227" y="6450381"/>
            <a:ext cx="297690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sym typeface="+mn-lt"/>
              </a:rPr>
              <a:t>© 2023 Lumen Technologies. All Rights Reserved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B901BFE-239D-44BC-BC22-DF5B7043F4DD}"/>
              </a:ext>
            </a:extLst>
          </p:cNvPr>
          <p:cNvSpPr txBox="1"/>
          <p:nvPr userDrawn="1"/>
        </p:nvSpPr>
        <p:spPr>
          <a:xfrm>
            <a:off x="262441" y="6389721"/>
            <a:ext cx="397262" cy="3651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marL="0" marR="0" lvl="0" indent="0" defTabSz="6857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E0C372-B15B-416F-A8B4-89ED8437FA1A}" type="slidenum">
              <a:rPr kumimoji="0" lang="en-US" sz="750" b="0" i="0" u="none" strike="noStrike" kern="0" cap="none" spc="0" normalizeH="0" baseline="0" noProof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</a:rPr>
              <a:pPr marL="0" marR="0" lvl="0" indent="0" defTabSz="68576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777777"/>
              </a:solidFill>
              <a:effectLst/>
              <a:uLnTx/>
              <a:uFillTx/>
            </a:endParaRPr>
          </a:p>
        </p:txBody>
      </p:sp>
      <p:pic>
        <p:nvPicPr>
          <p:cNvPr id="16" name="Picture 15" descr="A picture containing clock&#10;&#10;Description automatically generated">
            <a:extLst>
              <a:ext uri="{FF2B5EF4-FFF2-40B4-BE49-F238E27FC236}">
                <a16:creationId xmlns:a16="http://schemas.microsoft.com/office/drawing/2014/main" id="{3128625E-DB89-4386-8661-E0AFEA2568CF}"/>
              </a:ext>
            </a:extLst>
          </p:cNvPr>
          <p:cNvPicPr>
            <a:picLocks noChangeAspect="1"/>
          </p:cNvPicPr>
          <p:nvPr userDrawn="1"/>
        </p:nvPicPr>
        <p:blipFill>
          <a:blip r:embed="rId73"/>
          <a:stretch>
            <a:fillRect/>
          </a:stretch>
        </p:blipFill>
        <p:spPr>
          <a:xfrm>
            <a:off x="7442162" y="6237971"/>
            <a:ext cx="1603374" cy="56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785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rgbClr val="00000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Clr>
          <a:srgbClr val="38C6F3"/>
        </a:buClr>
        <a:buFont typeface="Arial" panose="020B0604020202020204" pitchFamily="34" charset="0"/>
        <a:buChar char="​"/>
        <a:defRPr lang="en-US" sz="9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185166" indent="-123444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rgbClr val="38C6F3"/>
        </a:buClr>
        <a:buFont typeface="Arial" panose="020B0604020202020204" pitchFamily="34" charset="0"/>
        <a:buChar char="•"/>
        <a:defRPr lang="en-US" sz="9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363474" indent="-1242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rgbClr val="38C6F3"/>
        </a:buClr>
        <a:buFont typeface="Arial" panose="020B0604020202020204" pitchFamily="34" charset="0"/>
        <a:buChar char="–"/>
        <a:defRPr lang="en-US" sz="9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685800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rgbClr val="38C6F3"/>
        </a:buClr>
        <a:buFont typeface="Arial" panose="020B0604020202020204" pitchFamily="34" charset="0"/>
        <a:buChar char="​"/>
        <a:defRPr lang="en-US" sz="1200" b="1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38C6F3"/>
        </a:buClr>
        <a:buFont typeface="Arial" panose="020B0604020202020204" pitchFamily="34" charset="0"/>
        <a:buChar char="​"/>
        <a:defRPr lang="en-US" sz="12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185166" indent="-123444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rgbClr val="38C6F3"/>
        </a:buClr>
        <a:buFont typeface="Arial" panose="020B0604020202020204" pitchFamily="34" charset="0"/>
        <a:buChar char="•"/>
        <a:defRPr lang="en-US" sz="12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Clr>
          <a:srgbClr val="38C6F3"/>
        </a:buClr>
        <a:buFont typeface="Arial" panose="020B0604020202020204" pitchFamily="34" charset="0"/>
        <a:buChar char="​"/>
        <a:defRPr lang="en-US" sz="33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0"/>
        </a:spcAft>
        <a:buClr>
          <a:srgbClr val="38C6F3"/>
        </a:buClr>
        <a:buFont typeface="Arial" panose="020B0604020202020204" pitchFamily="34" charset="0"/>
        <a:buChar char="​"/>
        <a:defRPr lang="en-US" sz="4050" b="1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Clr>
          <a:srgbClr val="38C6F3"/>
        </a:buClr>
        <a:buFont typeface="Arial" panose="020B0604020202020204" pitchFamily="34" charset="0"/>
        <a:buChar char="​"/>
        <a:defRPr lang="en-US" sz="1800" b="1" kern="1200" baseline="0" dirty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7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6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5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6.xml"/><Relationship Id="rId6" Type="http://schemas.openxmlformats.org/officeDocument/2006/relationships/image" Target="../media/image21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7.xml"/><Relationship Id="rId6" Type="http://schemas.openxmlformats.org/officeDocument/2006/relationships/image" Target="../media/image22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8.xml"/><Relationship Id="rId6" Type="http://schemas.openxmlformats.org/officeDocument/2006/relationships/image" Target="../media/image23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9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0.xml"/><Relationship Id="rId6" Type="http://schemas.openxmlformats.org/officeDocument/2006/relationships/image" Target="../media/image24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1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2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3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4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7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5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6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7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lumen.percipio.com/courses/12ae025e-d58d-48f7-9a37-193bd2efa119" TargetMode="External"/><Relationship Id="rId3" Type="http://schemas.openxmlformats.org/officeDocument/2006/relationships/oleObject" Target="../embeddings/oleObject83.bin"/><Relationship Id="rId7" Type="http://schemas.openxmlformats.org/officeDocument/2006/relationships/hyperlink" Target="https://lumen.percipio.com/courses/b06a5973-f759-4451-9963-7f0b675a5e43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8.xml"/><Relationship Id="rId6" Type="http://schemas.openxmlformats.org/officeDocument/2006/relationships/hyperlink" Target="https://lumen.percipio.com/courses/75f99acf-53fd-45f0-b2bc-4f52ea52c4d7" TargetMode="External"/><Relationship Id="rId5" Type="http://schemas.openxmlformats.org/officeDocument/2006/relationships/image" Target="../media/image15.png"/><Relationship Id="rId10" Type="http://schemas.openxmlformats.org/officeDocument/2006/relationships/hyperlink" Target="https://lumen.percipio.com/courses/1a5ab71c-cb63-48b5-be1d-a6b45c350a64" TargetMode="External"/><Relationship Id="rId4" Type="http://schemas.openxmlformats.org/officeDocument/2006/relationships/image" Target="../media/image14.emf"/><Relationship Id="rId9" Type="http://schemas.openxmlformats.org/officeDocument/2006/relationships/hyperlink" Target="https://lumen.percipio.com/courses/3605f136-e073-42d9-82ec-e325b9289217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8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9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0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1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2.xml"/><Relationship Id="rId6" Type="http://schemas.openxmlformats.org/officeDocument/2006/relationships/image" Target="../media/image18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3.xml"/><Relationship Id="rId6" Type="http://schemas.openxmlformats.org/officeDocument/2006/relationships/image" Target="../media/image19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4.xml"/><Relationship Id="rId6" Type="http://schemas.openxmlformats.org/officeDocument/2006/relationships/image" Target="../media/image20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DCD8D2-CB31-3DBA-C99F-A6632606EE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0A87E09-2542-B0D2-5C42-FBFD026B66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A87E09-2542-B0D2-5C42-FBFD026B66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1CFBC449-094B-CDF4-F753-1BFC97B934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89AB7F0-FC9A-3AD9-CCB2-DA8B01BF1AB6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24C5AA41-9368-6908-6F16-A7990CAC7E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54FB5B9C-C85C-C24D-6DB7-67BB7C9E0A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044EC338-DDBC-BA21-C7DE-2F9AD5DF38C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6724CADF-08B9-F02D-7223-C0C9D39185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9F65E964-4757-1502-533B-F7EA39031A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118A882A-0836-C229-ED5F-20055C9C6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IN" sz="2000" b="1"/>
              <a:t>                                   Day 4- Agenda</a:t>
            </a: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BF8DD54-06DD-F368-434D-A5C4571BEE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792929"/>
            <a:ext cx="7834313" cy="32925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en-US">
              <a:solidFill>
                <a:srgbClr val="273239"/>
              </a:solidFill>
              <a:latin typeface="inter-regular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>
                <a:solidFill>
                  <a:srgbClr val="273239"/>
                </a:solidFill>
                <a:latin typeface="inter-regular"/>
              </a:rPr>
              <a:t>Building With Mave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>
                <a:solidFill>
                  <a:srgbClr val="273239"/>
                </a:solidFill>
                <a:latin typeface="inter-regular"/>
              </a:rPr>
              <a:t>Junit Test Case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>
              <a:solidFill>
                <a:srgbClr val="273239"/>
              </a:solidFill>
              <a:latin typeface="inter-regular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63904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spc="-10"/>
              <a:t>Environment setup</a:t>
            </a:r>
            <a:r>
              <a:rPr lang="en-IN" sz="2000" b="1"/>
              <a:t>:</a:t>
            </a:r>
            <a:br>
              <a:rPr lang="en-IN" sz="2000" b="1"/>
            </a:b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>
              <a:spcAft>
                <a:spcPts val="0"/>
              </a:spcAft>
            </a:pPr>
            <a:endParaRPr lang="en-US" sz="1600">
              <a:effectLst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b="1" kern="0">
                <a:solidFill>
                  <a:srgbClr val="111111"/>
                </a:solidFill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stall Maven</a:t>
            </a:r>
            <a:r>
              <a:rPr lang="en-US" sz="1400" kern="0">
                <a:solidFill>
                  <a:srgbClr val="111111"/>
                </a:solidFill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Download and install Maven on your system.</a:t>
            </a:r>
            <a:endParaRPr lang="en-US" sz="1200" kern="100">
              <a:solidFill>
                <a:srgbClr val="11111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Courier New" panose="02070309020205020404" pitchFamily="49" charset="0"/>
              <a:buChar char="o"/>
              <a:tabLst>
                <a:tab pos="914400" algn="l"/>
              </a:tabLst>
            </a:pPr>
            <a:r>
              <a:rPr lang="en-US" sz="1400" b="1" kern="0">
                <a:solidFill>
                  <a:srgbClr val="111111"/>
                </a:solidFill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figure Environment Variables</a:t>
            </a:r>
            <a:r>
              <a:rPr lang="en-US" sz="1400" kern="0">
                <a:solidFill>
                  <a:srgbClr val="111111"/>
                </a:solidFill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Set up </a:t>
            </a:r>
            <a:r>
              <a:rPr lang="en-US" sz="1050" kern="0">
                <a:solidFill>
                  <a:srgbClr val="111111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M2_HOME</a:t>
            </a:r>
            <a:r>
              <a:rPr lang="en-US" sz="1400" kern="0">
                <a:solidFill>
                  <a:srgbClr val="111111"/>
                </a:solidFill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and add Maven’s </a:t>
            </a:r>
            <a:r>
              <a:rPr lang="en-US" sz="1050" kern="0">
                <a:solidFill>
                  <a:srgbClr val="111111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n</a:t>
            </a:r>
            <a:r>
              <a:rPr lang="en-US" sz="1400" kern="0">
                <a:solidFill>
                  <a:srgbClr val="111111"/>
                </a:solidFill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directory to your system’s </a:t>
            </a:r>
            <a:r>
              <a:rPr lang="en-US" sz="1050" kern="0">
                <a:solidFill>
                  <a:srgbClr val="111111"/>
                </a:solidFill>
                <a:effectLst/>
                <a:latin typeface="Courier New" panose="020703090202050204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TH</a:t>
            </a:r>
            <a:r>
              <a:rPr lang="en-US" sz="1400" kern="0">
                <a:solidFill>
                  <a:srgbClr val="111111"/>
                </a:solidFill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1200" kern="100">
              <a:solidFill>
                <a:srgbClr val="11111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 fontAlgn="base">
              <a:buNone/>
            </a:pPr>
            <a:endParaRPr lang="en-US" b="0" i="0">
              <a:solidFill>
                <a:srgbClr val="273239"/>
              </a:solidFill>
              <a:effectLst/>
              <a:latin typeface="inter-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7319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5F8143-7244-0A53-37EC-13C748BB48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C9DC552-3768-88B5-2410-D4DC4FF4CD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9DC552-3768-88B5-2410-D4DC4FF4CD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0FDA4213-3961-4033-740B-53D3362F18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736D8CA-4156-EA91-2290-668CFA5948F0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340B05C4-81EC-CC3A-F06F-8422FF5C418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5E28EA4F-A4BE-DC5C-0DFF-8E60D1DC030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CE37B08E-0F43-B047-03E9-4871731B933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515E5B9E-869D-E399-EFB6-0D4512DCDB5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93A8F384-4486-5EF3-3C35-684B4B3D70C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B423FC38-DC32-29B9-47F7-4AF5BF832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spc="-10"/>
              <a:t>Creating a java project using maven</a:t>
            </a:r>
            <a:r>
              <a:rPr lang="en-IN" sz="2000" b="1"/>
              <a:t>:</a:t>
            </a:r>
            <a:br>
              <a:rPr lang="en-IN" sz="2000" b="1"/>
            </a:b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9068924-3E2A-BDE9-A536-A1759FFACE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>
              <a:spcAft>
                <a:spcPts val="0"/>
              </a:spcAft>
            </a:pPr>
            <a:endParaRPr lang="en-US" sz="1600">
              <a:effectLst/>
            </a:endParaRPr>
          </a:p>
          <a:p>
            <a:pPr algn="l" fontAlgn="base">
              <a:buNone/>
            </a:pPr>
            <a:endParaRPr lang="en-US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6B71AE4-5E26-DEAF-38B8-D559E8DCF7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1487" y="1143000"/>
            <a:ext cx="7986713" cy="4699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419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377B71-23ED-BD24-CB3C-4B821A7F26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4FFFE29-7C1C-FFE6-66DE-372CDF56AC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FFFE29-7C1C-FFE6-66DE-372CDF56AC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D0A0FC32-F1A9-2DD0-8599-306CC4086D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09646874-2A3B-79BB-B5BA-8E3571CE6EE5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73A57199-0969-0291-0CB9-1842C78907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5B23AAF-313D-7F76-8D28-29C5A9CE51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20BBFC-D4A5-D331-5477-415304933A3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A2A3C98-77BC-503C-89E4-0937762B6C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4D74484-A0E6-AD58-76ED-15269442487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8655A1E0-8C64-53D1-7D2F-718403F917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spc="-10"/>
              <a:t>Creating a java project using maven</a:t>
            </a:r>
            <a:r>
              <a:rPr lang="en-IN" sz="2000" b="1"/>
              <a:t>:</a:t>
            </a:r>
            <a:br>
              <a:rPr lang="en-IN" sz="2000" b="1"/>
            </a:b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C728B3-ACA2-B932-26E5-DA474E7731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>
              <a:spcAft>
                <a:spcPts val="0"/>
              </a:spcAft>
            </a:pPr>
            <a:endParaRPr lang="en-US" sz="1600">
              <a:effectLst/>
            </a:endParaRPr>
          </a:p>
          <a:p>
            <a:pPr algn="l" fontAlgn="base">
              <a:buNone/>
            </a:pPr>
            <a:endParaRPr lang="en-US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7900084-298F-4092-7F9D-F3F60522F2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1915" y="1635864"/>
            <a:ext cx="8160169" cy="4549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794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86D243-B038-E293-A7B4-D36764040A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586148B-6F6F-D9A8-3807-AEE5530D01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86148B-6F6F-D9A8-3807-AEE5530D01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2D1D63D7-3AED-1ACE-BE18-94DEF21EA4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B6D6AADC-981D-9E43-F75C-3572FB2C1F9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22F25B1-A5E1-9946-5571-4DC2E610A14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945EE0DD-24AF-6B17-A6B4-EE2B0842431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4A9846EE-7917-C4BB-4933-0BB42276EFC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6C72C3B1-7140-9055-0E07-BB233F2D76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009C8CC5-8285-3A76-021D-9E7094E3C15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1BBC2A1B-D082-1A0E-E64C-D5910104D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720197"/>
          </a:xfrm>
        </p:spPr>
        <p:txBody>
          <a:bodyPr/>
          <a:lstStyle/>
          <a:p>
            <a:r>
              <a:rPr lang="en-US" sz="3200" spc="-10"/>
              <a:t>Creating a java project using maven</a:t>
            </a:r>
            <a:r>
              <a:rPr lang="en-IN" sz="2000" b="1"/>
              <a:t>:</a:t>
            </a:r>
            <a:br>
              <a:rPr lang="en-IN" sz="2000" b="1"/>
            </a:b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5D45E54-AC5C-E683-1741-535CA5B608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>
              <a:spcAft>
                <a:spcPts val="0"/>
              </a:spcAft>
            </a:pPr>
            <a:endParaRPr lang="en-US" sz="1600">
              <a:effectLst/>
            </a:endParaRPr>
          </a:p>
          <a:p>
            <a:pPr algn="l" fontAlgn="base">
              <a:buNone/>
            </a:pPr>
            <a:endParaRPr lang="en-US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E48F5FF-52B7-201E-D201-90B0E759EC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1487" y="1358793"/>
            <a:ext cx="7720199" cy="4668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100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r>
              <a:rPr lang="en-US" sz="2000"/>
              <a:t>Maven Directory Structure</a:t>
            </a:r>
            <a:r>
              <a:rPr lang="en-IN" sz="2000" b="1"/>
              <a:t>:</a:t>
            </a:r>
            <a:br>
              <a:rPr lang="en-IN" sz="2000" b="1"/>
            </a:br>
            <a:endParaRPr lang="en-US" sz="20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52B01E-9076-9686-7A09-8C7D7546E1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1176798"/>
            <a:ext cx="8201025" cy="4850655"/>
          </a:xfrm>
        </p:spPr>
        <p:txBody>
          <a:bodyPr/>
          <a:lstStyle/>
          <a:p>
            <a:r>
              <a:rPr lang="en-US"/>
              <a:t>└───maven-project</a:t>
            </a:r>
          </a:p>
          <a:p>
            <a:r>
              <a:rPr lang="en-US"/>
              <a:t>    ├───pom.xml</a:t>
            </a:r>
          </a:p>
          <a:p>
            <a:r>
              <a:rPr lang="en-US"/>
              <a:t>    ├───README.txt</a:t>
            </a:r>
          </a:p>
          <a:p>
            <a:r>
              <a:rPr lang="en-US"/>
              <a:t>    ├───NOTICE.txt</a:t>
            </a:r>
          </a:p>
          <a:p>
            <a:r>
              <a:rPr lang="en-US"/>
              <a:t>    ├───LICENSE.txt</a:t>
            </a:r>
          </a:p>
          <a:p>
            <a:r>
              <a:rPr lang="en-US"/>
              <a:t>    ├───target</a:t>
            </a:r>
          </a:p>
          <a:p>
            <a:r>
              <a:rPr lang="en-US"/>
              <a:t>    └───</a:t>
            </a:r>
            <a:r>
              <a:rPr lang="en-US" err="1"/>
              <a:t>src</a:t>
            </a:r>
            <a:endParaRPr lang="en-US"/>
          </a:p>
          <a:p>
            <a:r>
              <a:rPr lang="en-US"/>
              <a:t>        ├───main</a:t>
            </a:r>
          </a:p>
          <a:p>
            <a:r>
              <a:rPr lang="en-US"/>
              <a:t>        │   ├───java</a:t>
            </a:r>
          </a:p>
          <a:p>
            <a:r>
              <a:rPr lang="en-US"/>
              <a:t>        │   ├───resources</a:t>
            </a:r>
          </a:p>
          <a:p>
            <a:r>
              <a:rPr lang="en-US"/>
              <a:t>        │   ├───filters</a:t>
            </a:r>
          </a:p>
          <a:p>
            <a:r>
              <a:rPr lang="en-US"/>
              <a:t>        │   └───webapp</a:t>
            </a:r>
          </a:p>
          <a:p>
            <a:r>
              <a:rPr lang="en-US"/>
              <a:t>        ├───test</a:t>
            </a:r>
          </a:p>
          <a:p>
            <a:r>
              <a:rPr lang="en-US"/>
              <a:t>        │   ├───java</a:t>
            </a:r>
          </a:p>
          <a:p>
            <a:r>
              <a:rPr lang="en-US"/>
              <a:t>        │   ├───resources</a:t>
            </a:r>
          </a:p>
          <a:p>
            <a:r>
              <a:rPr lang="en-US"/>
              <a:t>        │   └───filters</a:t>
            </a:r>
          </a:p>
          <a:p>
            <a:r>
              <a:rPr lang="en-US"/>
              <a:t>        ├───it</a:t>
            </a:r>
          </a:p>
          <a:p>
            <a:r>
              <a:rPr lang="en-US"/>
              <a:t>        ├───site</a:t>
            </a:r>
          </a:p>
          <a:p>
            <a:r>
              <a:rPr lang="en-US"/>
              <a:t>        └───assembly</a:t>
            </a:r>
          </a:p>
        </p:txBody>
      </p:sp>
    </p:spTree>
    <p:extLst>
      <p:ext uri="{BB962C8B-B14F-4D97-AF65-F5344CB8AC3E}">
        <p14:creationId xmlns:p14="http://schemas.microsoft.com/office/powerpoint/2010/main" val="2456509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9B778B-A34C-ABD1-AA10-485DF7D9AC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41FE58D-858F-BE34-7792-05B9960303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1FE58D-858F-BE34-7792-05B996030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67991748-064B-A3CA-E1FB-EAF84FBC46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0D7D622-3357-59C0-891B-420167202F93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4B3334A8-5C63-DC6A-0C8C-34796D7DB91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6DC4EE8-2E39-E716-3989-4F85CE200C5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9827CE15-BA3A-4687-66A8-3D3E647D40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A4ED83B-B3A1-B29E-73E3-953E7D35D15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3F0C366E-C985-C752-D95B-09B61162DAB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EC2ACD0F-91E3-85B8-49DF-3AAF4C23F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r>
              <a:rPr lang="en-US" sz="2000"/>
              <a:t>Executing the </a:t>
            </a:r>
            <a:r>
              <a:rPr lang="en-US" sz="2000" err="1"/>
              <a:t>mvn</a:t>
            </a:r>
            <a:r>
              <a:rPr lang="en-US" sz="2000"/>
              <a:t> command:</a:t>
            </a:r>
            <a:br>
              <a:rPr lang="en-IN" sz="2000" b="1"/>
            </a:br>
            <a:endParaRPr lang="en-US" sz="20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103B62-BFF7-7284-910E-5D970DB890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1176798"/>
            <a:ext cx="8201025" cy="4850655"/>
          </a:xfrm>
        </p:spPr>
        <p:txBody>
          <a:bodyPr/>
          <a:lstStyle/>
          <a:p>
            <a:endParaRPr lang="en-US"/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1A6CC654-8800-0F40-E348-73B5B2EAC5F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6057" y="984058"/>
            <a:ext cx="8392886" cy="4781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092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7C8186-3D96-7B2E-3D48-C36D51BB44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671BE8-9809-313A-22A8-3EACD9FCE0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671BE8-9809-313A-22A8-3EACD9FCE0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423A5D0-BF5E-6A14-72E4-333758B296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0E84DBCC-F3B6-C183-DF48-498D1C6E3646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2E75845C-4810-85F6-0A04-15AEA659C4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41CEA52-D538-96D9-601B-288F4CE819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F9100EE2-1CDD-6CF8-1AEC-90008A1C97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3807FE6-5FDE-6618-CB2F-0A7990CE6B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54AF877-2416-F01A-CCD7-B71532D60D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C844F087-AC70-3868-2C23-B05C212CC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r>
              <a:rPr lang="en-US" sz="2000"/>
              <a:t>Maven Dependencies Version upgrade/Downgrade:</a:t>
            </a:r>
            <a:br>
              <a:rPr lang="en-IN" sz="2000" b="1"/>
            </a:br>
            <a:endParaRPr lang="en-US" sz="20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812D1A-279F-2E10-E3D7-C6CCDE96F4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1176798"/>
            <a:ext cx="8201025" cy="4850655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>
              <a:buAutoNum type="arabicParenR"/>
            </a:pPr>
            <a:r>
              <a:rPr lang="en-US"/>
              <a:t>Play with versions of dependencies by updating/downgrading and look at the .jar files in project explorer. </a:t>
            </a:r>
          </a:p>
          <a:p>
            <a:pPr marL="342900" indent="-342900">
              <a:buAutoNum type="arabicParenR"/>
            </a:pPr>
            <a:r>
              <a:rPr lang="en-US"/>
              <a:t> How to collect dependency from central Maven repository and add to the POM.xml</a:t>
            </a:r>
            <a:endParaRPr lang="en-US">
              <a:cs typeface="Arial"/>
            </a:endParaRPr>
          </a:p>
          <a:p>
            <a:pPr>
              <a:buAutoNum type="arabicParenR"/>
            </a:pPr>
            <a:endParaRPr lang="en-US">
              <a:cs typeface="Arial"/>
            </a:endParaRPr>
          </a:p>
          <a:p>
            <a:pPr>
              <a:buAutoNum type="arabicParenR"/>
            </a:pP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6685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7C8186-3D96-7B2E-3D48-C36D51BB44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671BE8-9809-313A-22A8-3EACD9FCE0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671BE8-9809-313A-22A8-3EACD9FCE0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423A5D0-BF5E-6A14-72E4-333758B296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0E84DBCC-F3B6-C183-DF48-498D1C6E3646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2E75845C-4810-85F6-0A04-15AEA659C4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41CEA52-D538-96D9-601B-288F4CE819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F9100EE2-1CDD-6CF8-1AEC-90008A1C97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3807FE6-5FDE-6618-CB2F-0A7990CE6B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54AF877-2416-F01A-CCD7-B71532D60D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C844F087-AC70-3868-2C23-B05C212CC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IN" sz="2000">
                <a:ea typeface="+mj-lt"/>
                <a:cs typeface="+mj-lt"/>
              </a:rPr>
              <a:t>Introduction to JUnit5.0</a:t>
            </a:r>
            <a:endParaRPr lang="en-US">
              <a:ea typeface="+mj-lt"/>
              <a:cs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812D1A-279F-2E10-E3D7-C6CCDE96F4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1176798"/>
            <a:ext cx="8201025" cy="86006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>
                <a:ea typeface="+mn-lt"/>
                <a:cs typeface="+mn-lt"/>
              </a:rPr>
              <a:t>•What is JUnit?</a:t>
            </a:r>
          </a:p>
          <a:p>
            <a:r>
              <a:rPr lang="en-US">
                <a:ea typeface="+mn-lt"/>
                <a:cs typeface="+mn-lt"/>
              </a:rPr>
              <a:t>•Junit5 -&gt; Junit Jupiter + Junit Vintage + Junit Platform</a:t>
            </a:r>
          </a:p>
          <a:p>
            <a:r>
              <a:rPr lang="en-US">
                <a:ea typeface="+mn-lt"/>
                <a:cs typeface="+mn-lt"/>
              </a:rPr>
              <a:t>•Importance of testing in software development</a:t>
            </a:r>
          </a:p>
          <a:p>
            <a:endParaRPr lang="en-US">
              <a:ea typeface="+mn-lt"/>
              <a:cs typeface="+mn-lt"/>
            </a:endParaRP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60DFCA0C-1AC6-0371-CB84-D566BB89D5FD}"/>
              </a:ext>
            </a:extLst>
          </p:cNvPr>
          <p:cNvSpPr txBox="1">
            <a:spLocks/>
          </p:cNvSpPr>
          <p:nvPr/>
        </p:nvSpPr>
        <p:spPr>
          <a:xfrm>
            <a:off x="453120" y="2625142"/>
            <a:ext cx="8200013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50" b="1" kern="12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IN" sz="2000" b="0">
                <a:ea typeface="+mj-lt"/>
                <a:cs typeface="+mj-lt"/>
              </a:rPr>
              <a:t>Benefits of Junit</a:t>
            </a:r>
            <a:endParaRPr lang="en-US">
              <a:ea typeface="+mj-lt"/>
              <a:cs typeface="+mj-lt"/>
            </a:endParaRPr>
          </a:p>
          <a:p>
            <a:endParaRPr lang="en-IN" sz="2000">
              <a:ea typeface="+mj-lt"/>
              <a:cs typeface="+mj-lt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AC76E3-9B6E-8893-EF94-C75152BEC93E}"/>
              </a:ext>
            </a:extLst>
          </p:cNvPr>
          <p:cNvSpPr txBox="1">
            <a:spLocks/>
          </p:cNvSpPr>
          <p:nvPr/>
        </p:nvSpPr>
        <p:spPr>
          <a:xfrm>
            <a:off x="452107" y="3179141"/>
            <a:ext cx="8187812" cy="25910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15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185166" indent="-12344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•"/>
              <a:defRPr lang="en-US" sz="15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363474" indent="-1242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–"/>
              <a:defRPr lang="en-US" sz="15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21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21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185166" indent="-123444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38C6F3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33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4050" b="1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1800" b="1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r>
              <a:rPr lang="en-US">
                <a:ea typeface="+mn-lt"/>
                <a:cs typeface="+mn-lt"/>
              </a:rPr>
              <a:t>•Ensures code quality: Detect bugs early in the development process.</a:t>
            </a:r>
          </a:p>
          <a:p>
            <a:r>
              <a:rPr lang="en-US">
                <a:ea typeface="+mn-lt"/>
                <a:cs typeface="+mn-lt"/>
              </a:rPr>
              <a:t>•Automates testing: Saves time and effort by automating repetitive testing tasks.</a:t>
            </a:r>
          </a:p>
          <a:p>
            <a:r>
              <a:rPr lang="en-US">
                <a:ea typeface="+mn-lt"/>
                <a:cs typeface="+mn-lt"/>
              </a:rPr>
              <a:t>•Supports Test-Driven Development (TDD): Write tests before writing code.</a:t>
            </a:r>
          </a:p>
          <a:p>
            <a:r>
              <a:rPr lang="en-US">
                <a:ea typeface="+mn-lt"/>
                <a:cs typeface="+mn-lt"/>
              </a:rPr>
              <a:t>•Integrates with build tools: Compatible with Ant, Maven, and Gradle.</a:t>
            </a:r>
          </a:p>
          <a:p>
            <a:endParaRPr lang="en-US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34372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7C8186-3D96-7B2E-3D48-C36D51BB44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671BE8-9809-313A-22A8-3EACD9FCE0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671BE8-9809-313A-22A8-3EACD9FCE0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423A5D0-BF5E-6A14-72E4-333758B296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0E84DBCC-F3B6-C183-DF48-498D1C6E3646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2E75845C-4810-85F6-0A04-15AEA659C4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41CEA52-D538-96D9-601B-288F4CE819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F9100EE2-1CDD-6CF8-1AEC-90008A1C97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3807FE6-5FDE-6618-CB2F-0A7990CE6B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54AF877-2416-F01A-CCD7-B71532D60D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C844F087-AC70-3868-2C23-B05C212CC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IN" sz="2000">
                <a:ea typeface="+mj-lt"/>
                <a:cs typeface="+mj-lt"/>
              </a:rPr>
              <a:t>Junit setup</a:t>
            </a:r>
            <a:endParaRPr lang="en-US">
              <a:ea typeface="+mj-lt"/>
              <a:cs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812D1A-279F-2E10-E3D7-C6CCDE96F4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1176798"/>
            <a:ext cx="8201025" cy="4320524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300">
                <a:ea typeface="+mn-lt"/>
                <a:cs typeface="+mn-lt"/>
              </a:rPr>
              <a:t>&lt;</a:t>
            </a:r>
            <a:r>
              <a:rPr lang="en-US" sz="1300" err="1">
                <a:ea typeface="+mn-lt"/>
                <a:cs typeface="+mn-lt"/>
              </a:rPr>
              <a:t>dependencyManagement</a:t>
            </a:r>
            <a:r>
              <a:rPr lang="en-US" sz="1300">
                <a:ea typeface="+mn-lt"/>
                <a:cs typeface="+mn-lt"/>
              </a:rPr>
              <a:t>&gt;</a:t>
            </a:r>
            <a:endParaRPr lang="en-US">
              <a:ea typeface="+mn-lt"/>
              <a:cs typeface="+mn-lt"/>
            </a:endParaRPr>
          </a:p>
          <a:p>
            <a:r>
              <a:rPr lang="en-US" sz="1300">
                <a:ea typeface="+mn-lt"/>
                <a:cs typeface="+mn-lt"/>
              </a:rPr>
              <a:t>  &lt;dependencies&gt;</a:t>
            </a:r>
            <a:endParaRPr lang="en-US"/>
          </a:p>
          <a:p>
            <a:r>
              <a:rPr lang="en-US" sz="1300">
                <a:ea typeface="+mn-lt"/>
                <a:cs typeface="+mn-lt"/>
              </a:rPr>
              <a:t>  &lt;dependency&gt;</a:t>
            </a:r>
            <a:endParaRPr lang="en-US"/>
          </a:p>
          <a:p>
            <a:r>
              <a:rPr lang="en-US" sz="1300">
                <a:ea typeface="+mn-lt"/>
                <a:cs typeface="+mn-lt"/>
              </a:rPr>
              <a:t>  &lt;</a:t>
            </a:r>
            <a:r>
              <a:rPr lang="en-US" sz="1300" err="1">
                <a:ea typeface="+mn-lt"/>
                <a:cs typeface="+mn-lt"/>
              </a:rPr>
              <a:t>groupId</a:t>
            </a:r>
            <a:r>
              <a:rPr lang="en-US" sz="1300">
                <a:ea typeface="+mn-lt"/>
                <a:cs typeface="+mn-lt"/>
              </a:rPr>
              <a:t>&gt;</a:t>
            </a:r>
            <a:r>
              <a:rPr lang="en-US" sz="1300" err="1">
                <a:ea typeface="+mn-lt"/>
                <a:cs typeface="+mn-lt"/>
              </a:rPr>
              <a:t>org.junit</a:t>
            </a:r>
            <a:r>
              <a:rPr lang="en-US" sz="1300">
                <a:ea typeface="+mn-lt"/>
                <a:cs typeface="+mn-lt"/>
              </a:rPr>
              <a:t>&lt;/</a:t>
            </a:r>
            <a:r>
              <a:rPr lang="en-US" sz="1300" err="1">
                <a:ea typeface="+mn-lt"/>
                <a:cs typeface="+mn-lt"/>
              </a:rPr>
              <a:t>groupId</a:t>
            </a:r>
            <a:r>
              <a:rPr lang="en-US" sz="1300">
                <a:ea typeface="+mn-lt"/>
                <a:cs typeface="+mn-lt"/>
              </a:rPr>
              <a:t>&gt;</a:t>
            </a:r>
            <a:endParaRPr lang="en-US"/>
          </a:p>
          <a:p>
            <a:r>
              <a:rPr lang="en-US" sz="1300">
                <a:ea typeface="+mn-lt"/>
                <a:cs typeface="+mn-lt"/>
              </a:rPr>
              <a:t>  &lt;</a:t>
            </a:r>
            <a:r>
              <a:rPr lang="en-US" sz="1300" err="1">
                <a:ea typeface="+mn-lt"/>
                <a:cs typeface="+mn-lt"/>
              </a:rPr>
              <a:t>artifactId</a:t>
            </a:r>
            <a:r>
              <a:rPr lang="en-US" sz="1300">
                <a:ea typeface="+mn-lt"/>
                <a:cs typeface="+mn-lt"/>
              </a:rPr>
              <a:t>&gt;</a:t>
            </a:r>
            <a:r>
              <a:rPr lang="en-US" sz="1300" err="1">
                <a:ea typeface="+mn-lt"/>
                <a:cs typeface="+mn-lt"/>
              </a:rPr>
              <a:t>junit-bom</a:t>
            </a:r>
            <a:r>
              <a:rPr lang="en-US" sz="1300">
                <a:ea typeface="+mn-lt"/>
                <a:cs typeface="+mn-lt"/>
              </a:rPr>
              <a:t>&lt;/</a:t>
            </a:r>
            <a:r>
              <a:rPr lang="en-US" sz="1300" err="1">
                <a:ea typeface="+mn-lt"/>
                <a:cs typeface="+mn-lt"/>
              </a:rPr>
              <a:t>artifactId</a:t>
            </a:r>
            <a:r>
              <a:rPr lang="en-US" sz="1300">
                <a:ea typeface="+mn-lt"/>
                <a:cs typeface="+mn-lt"/>
              </a:rPr>
              <a:t>&gt;</a:t>
            </a:r>
            <a:endParaRPr lang="en-US"/>
          </a:p>
          <a:p>
            <a:r>
              <a:rPr lang="en-US" sz="1300">
                <a:ea typeface="+mn-lt"/>
                <a:cs typeface="+mn-lt"/>
              </a:rPr>
              <a:t>  &lt;version&gt;5.10.2&lt;/version&gt;</a:t>
            </a:r>
            <a:endParaRPr lang="en-US"/>
          </a:p>
          <a:p>
            <a:r>
              <a:rPr lang="en-US" sz="1300">
                <a:ea typeface="+mn-lt"/>
                <a:cs typeface="+mn-lt"/>
              </a:rPr>
              <a:t>  &lt;type&gt;pom&lt;/type&gt;</a:t>
            </a:r>
            <a:endParaRPr lang="en-US"/>
          </a:p>
          <a:p>
            <a:r>
              <a:rPr lang="en-US" sz="1300">
                <a:ea typeface="+mn-lt"/>
                <a:cs typeface="+mn-lt"/>
              </a:rPr>
              <a:t>  &lt;scope&gt;import&lt;/scope&gt;</a:t>
            </a:r>
            <a:endParaRPr lang="en-US"/>
          </a:p>
          <a:p>
            <a:r>
              <a:rPr lang="en-US" sz="1300">
                <a:ea typeface="+mn-lt"/>
                <a:cs typeface="+mn-lt"/>
              </a:rPr>
              <a:t>  &lt;/dependency&gt;</a:t>
            </a:r>
            <a:endParaRPr lang="en-US"/>
          </a:p>
          <a:p>
            <a:r>
              <a:rPr lang="en-US" sz="1300">
                <a:ea typeface="+mn-lt"/>
                <a:cs typeface="+mn-lt"/>
              </a:rPr>
              <a:t>  &lt;/dependencies&gt;</a:t>
            </a:r>
            <a:endParaRPr lang="en-US"/>
          </a:p>
          <a:p>
            <a:r>
              <a:rPr lang="en-US" sz="1300">
                <a:ea typeface="+mn-lt"/>
                <a:cs typeface="+mn-lt"/>
              </a:rPr>
              <a:t>&lt;/</a:t>
            </a:r>
            <a:r>
              <a:rPr lang="en-US" sz="1300" err="1">
                <a:ea typeface="+mn-lt"/>
                <a:cs typeface="+mn-lt"/>
              </a:rPr>
              <a:t>dependencyManagement</a:t>
            </a:r>
            <a:r>
              <a:rPr lang="en-US" sz="1300">
                <a:ea typeface="+mn-lt"/>
                <a:cs typeface="+mn-lt"/>
              </a:rPr>
              <a:t>&gt;</a:t>
            </a:r>
            <a:endParaRPr lang="en-US"/>
          </a:p>
          <a:p>
            <a:r>
              <a:rPr lang="en-US" sz="1300">
                <a:ea typeface="+mn-lt"/>
                <a:cs typeface="+mn-lt"/>
              </a:rPr>
              <a:t>&lt;dependencies&gt;</a:t>
            </a:r>
            <a:endParaRPr lang="en-US"/>
          </a:p>
          <a:p>
            <a:r>
              <a:rPr lang="en-US" sz="1300">
                <a:ea typeface="+mn-lt"/>
                <a:cs typeface="+mn-lt"/>
              </a:rPr>
              <a:t>  &lt;dependency&gt;</a:t>
            </a:r>
            <a:endParaRPr lang="en-US"/>
          </a:p>
          <a:p>
            <a:r>
              <a:rPr lang="en-US" sz="1300">
                <a:ea typeface="+mn-lt"/>
                <a:cs typeface="+mn-lt"/>
              </a:rPr>
              <a:t>  &lt;</a:t>
            </a:r>
            <a:r>
              <a:rPr lang="en-US" sz="1300" err="1">
                <a:ea typeface="+mn-lt"/>
                <a:cs typeface="+mn-lt"/>
              </a:rPr>
              <a:t>groupId</a:t>
            </a:r>
            <a:r>
              <a:rPr lang="en-US" sz="1300">
                <a:ea typeface="+mn-lt"/>
                <a:cs typeface="+mn-lt"/>
              </a:rPr>
              <a:t>&gt;</a:t>
            </a:r>
            <a:r>
              <a:rPr lang="en-US" sz="1300" err="1">
                <a:ea typeface="+mn-lt"/>
                <a:cs typeface="+mn-lt"/>
              </a:rPr>
              <a:t>org.junit.jupiter</a:t>
            </a:r>
            <a:r>
              <a:rPr lang="en-US" sz="1300">
                <a:ea typeface="+mn-lt"/>
                <a:cs typeface="+mn-lt"/>
              </a:rPr>
              <a:t>&lt;/</a:t>
            </a:r>
            <a:r>
              <a:rPr lang="en-US" sz="1300" err="1">
                <a:ea typeface="+mn-lt"/>
                <a:cs typeface="+mn-lt"/>
              </a:rPr>
              <a:t>groupId</a:t>
            </a:r>
            <a:r>
              <a:rPr lang="en-US" sz="1300">
                <a:ea typeface="+mn-lt"/>
                <a:cs typeface="+mn-lt"/>
              </a:rPr>
              <a:t>&gt;</a:t>
            </a:r>
            <a:endParaRPr lang="en-US"/>
          </a:p>
          <a:p>
            <a:r>
              <a:rPr lang="en-US" sz="1300">
                <a:ea typeface="+mn-lt"/>
                <a:cs typeface="+mn-lt"/>
              </a:rPr>
              <a:t>  &lt;</a:t>
            </a:r>
            <a:r>
              <a:rPr lang="en-US" sz="1300" err="1">
                <a:ea typeface="+mn-lt"/>
                <a:cs typeface="+mn-lt"/>
              </a:rPr>
              <a:t>artifactId</a:t>
            </a:r>
            <a:r>
              <a:rPr lang="en-US" sz="1300">
                <a:ea typeface="+mn-lt"/>
                <a:cs typeface="+mn-lt"/>
              </a:rPr>
              <a:t>&gt;</a:t>
            </a:r>
            <a:r>
              <a:rPr lang="en-US" sz="1300" err="1">
                <a:ea typeface="+mn-lt"/>
                <a:cs typeface="+mn-lt"/>
              </a:rPr>
              <a:t>junit-jupiter</a:t>
            </a:r>
            <a:r>
              <a:rPr lang="en-US" sz="1300">
                <a:ea typeface="+mn-lt"/>
                <a:cs typeface="+mn-lt"/>
              </a:rPr>
              <a:t>&lt;/</a:t>
            </a:r>
            <a:r>
              <a:rPr lang="en-US" sz="1300" err="1">
                <a:ea typeface="+mn-lt"/>
                <a:cs typeface="+mn-lt"/>
              </a:rPr>
              <a:t>artifactId</a:t>
            </a:r>
            <a:r>
              <a:rPr lang="en-US" sz="1300">
                <a:ea typeface="+mn-lt"/>
                <a:cs typeface="+mn-lt"/>
              </a:rPr>
              <a:t>&gt;</a:t>
            </a:r>
            <a:endParaRPr lang="en-US"/>
          </a:p>
          <a:p>
            <a:r>
              <a:rPr lang="en-US" sz="1300">
                <a:ea typeface="+mn-lt"/>
                <a:cs typeface="+mn-lt"/>
              </a:rPr>
              <a:t>  &lt;scope&gt;test&lt;/scope&gt;</a:t>
            </a:r>
            <a:endParaRPr lang="en-US"/>
          </a:p>
          <a:p>
            <a:r>
              <a:rPr lang="en-US" sz="1300">
                <a:ea typeface="+mn-lt"/>
                <a:cs typeface="+mn-lt"/>
              </a:rPr>
              <a:t>  &lt;/dependency&gt;</a:t>
            </a:r>
            <a:endParaRPr lang="en-US"/>
          </a:p>
          <a:p>
            <a:r>
              <a:rPr lang="en-US" sz="1300">
                <a:ea typeface="+mn-lt"/>
                <a:cs typeface="+mn-lt"/>
              </a:rPr>
              <a:t>&lt;/dependencies&gt;</a:t>
            </a:r>
            <a:endParaRPr lang="en-US"/>
          </a:p>
          <a:p>
            <a:endParaRPr lang="en-US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19888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7C8186-3D96-7B2E-3D48-C36D51BB44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671BE8-9809-313A-22A8-3EACD9FCE0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671BE8-9809-313A-22A8-3EACD9FCE0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423A5D0-BF5E-6A14-72E4-333758B296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0E84DBCC-F3B6-C183-DF48-498D1C6E3646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2E75845C-4810-85F6-0A04-15AEA659C4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41CEA52-D538-96D9-601B-288F4CE819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F9100EE2-1CDD-6CF8-1AEC-90008A1C97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3807FE6-5FDE-6618-CB2F-0A7990CE6B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54AF877-2416-F01A-CCD7-B71532D60D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C844F087-AC70-3868-2C23-B05C212CC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147" y="4354358"/>
            <a:ext cx="8200013" cy="276999"/>
          </a:xfrm>
        </p:spPr>
        <p:txBody>
          <a:bodyPr/>
          <a:lstStyle/>
          <a:p>
            <a:r>
              <a:rPr lang="en-IN" sz="2000" dirty="0">
                <a:ea typeface="+mj-lt"/>
                <a:cs typeface="+mj-lt"/>
              </a:rPr>
              <a:t>Common Asserts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812D1A-279F-2E10-E3D7-C6CCDE96F4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1135" y="1098356"/>
            <a:ext cx="8201025" cy="3199937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dirty="0">
                <a:ea typeface="+mn-lt"/>
                <a:cs typeface="+mn-lt"/>
              </a:rPr>
              <a:t>•@Test – tells that a method is a test method</a:t>
            </a:r>
          </a:p>
          <a:p>
            <a:r>
              <a:rPr lang="en-US" sz="1600" dirty="0">
                <a:ea typeface="+mn-lt"/>
                <a:cs typeface="+mn-lt"/>
              </a:rPr>
              <a:t>•@DisplayName – used to customize the display names on test runners and reports</a:t>
            </a:r>
          </a:p>
          <a:p>
            <a:endParaRPr lang="en-US" sz="1600">
              <a:ea typeface="+mn-lt"/>
              <a:cs typeface="+mn-lt"/>
            </a:endParaRPr>
          </a:p>
          <a:p>
            <a:r>
              <a:rPr lang="en-US" sz="1600" dirty="0">
                <a:ea typeface="+mn-lt"/>
                <a:cs typeface="+mn-lt"/>
              </a:rPr>
              <a:t>•@</a:t>
            </a:r>
            <a:r>
              <a:rPr lang="en-US" sz="1600" dirty="0" err="1">
                <a:ea typeface="+mn-lt"/>
                <a:cs typeface="+mn-lt"/>
              </a:rPr>
              <a:t>ParameterizedTest</a:t>
            </a:r>
            <a:r>
              <a:rPr lang="en-US" sz="1600" dirty="0">
                <a:ea typeface="+mn-lt"/>
                <a:cs typeface="+mn-lt"/>
              </a:rPr>
              <a:t> – used to run a test multiple times with different arguments</a:t>
            </a:r>
          </a:p>
          <a:p>
            <a:r>
              <a:rPr lang="en-US" sz="1600" dirty="0">
                <a:ea typeface="+mn-lt"/>
                <a:cs typeface="+mn-lt"/>
              </a:rPr>
              <a:t>•@</a:t>
            </a:r>
            <a:r>
              <a:rPr lang="en-US" sz="1600" dirty="0" err="1">
                <a:ea typeface="+mn-lt"/>
                <a:cs typeface="+mn-lt"/>
              </a:rPr>
              <a:t>RepeatedTest</a:t>
            </a:r>
            <a:r>
              <a:rPr lang="en-US" sz="1600" dirty="0">
                <a:ea typeface="+mn-lt"/>
                <a:cs typeface="+mn-lt"/>
              </a:rPr>
              <a:t> – used to repeat a test a specified number of times</a:t>
            </a:r>
          </a:p>
          <a:p>
            <a:r>
              <a:rPr lang="en-US" sz="1600" dirty="0">
                <a:ea typeface="+mn-lt"/>
                <a:cs typeface="+mn-lt"/>
              </a:rPr>
              <a:t>•@</a:t>
            </a:r>
            <a:r>
              <a:rPr lang="en-US" sz="1600" dirty="0" err="1">
                <a:ea typeface="+mn-lt"/>
                <a:cs typeface="+mn-lt"/>
              </a:rPr>
              <a:t>BeforeEach</a:t>
            </a:r>
            <a:r>
              <a:rPr lang="en-US" sz="1600" dirty="0">
                <a:ea typeface="+mn-lt"/>
                <a:cs typeface="+mn-lt"/>
              </a:rPr>
              <a:t> – used to run something before a test method</a:t>
            </a:r>
          </a:p>
          <a:p>
            <a:r>
              <a:rPr lang="en-US" sz="1600" dirty="0">
                <a:ea typeface="+mn-lt"/>
                <a:cs typeface="+mn-lt"/>
              </a:rPr>
              <a:t>•@</a:t>
            </a:r>
            <a:r>
              <a:rPr lang="en-US" sz="1600" dirty="0" err="1">
                <a:ea typeface="+mn-lt"/>
                <a:cs typeface="+mn-lt"/>
              </a:rPr>
              <a:t>AfterEach</a:t>
            </a:r>
            <a:r>
              <a:rPr lang="en-US" sz="1600" dirty="0">
                <a:ea typeface="+mn-lt"/>
                <a:cs typeface="+mn-lt"/>
              </a:rPr>
              <a:t> – used to run something after a test method</a:t>
            </a:r>
          </a:p>
          <a:p>
            <a:r>
              <a:rPr lang="en-US" sz="1600" dirty="0">
                <a:ea typeface="+mn-lt"/>
                <a:cs typeface="+mn-lt"/>
              </a:rPr>
              <a:t>•@</a:t>
            </a:r>
            <a:r>
              <a:rPr lang="en-US" sz="1600" dirty="0" err="1">
                <a:ea typeface="+mn-lt"/>
                <a:cs typeface="+mn-lt"/>
              </a:rPr>
              <a:t>BeforeAll</a:t>
            </a:r>
            <a:r>
              <a:rPr lang="en-US" sz="1600" dirty="0">
                <a:ea typeface="+mn-lt"/>
                <a:cs typeface="+mn-lt"/>
              </a:rPr>
              <a:t> – used to run</a:t>
            </a:r>
            <a:r>
              <a:rPr lang="en-US" sz="1600" dirty="0">
                <a:latin typeface="Times New Roman"/>
                <a:ea typeface="+mn-lt"/>
                <a:cs typeface="Times New Roman"/>
              </a:rPr>
              <a:t> </a:t>
            </a:r>
            <a:r>
              <a:rPr lang="en-US" sz="1600" dirty="0">
                <a:ea typeface="+mn-lt"/>
                <a:cs typeface="+mn-lt"/>
              </a:rPr>
              <a:t> something before all tests</a:t>
            </a:r>
          </a:p>
          <a:p>
            <a:r>
              <a:rPr lang="en-US" sz="1600" dirty="0">
                <a:ea typeface="+mn-lt"/>
                <a:cs typeface="+mn-lt"/>
              </a:rPr>
              <a:t>•@</a:t>
            </a:r>
            <a:r>
              <a:rPr lang="en-US" sz="1600" dirty="0" err="1">
                <a:ea typeface="+mn-lt"/>
                <a:cs typeface="+mn-lt"/>
              </a:rPr>
              <a:t>AfterAll</a:t>
            </a:r>
            <a:r>
              <a:rPr lang="en-US" sz="1600" dirty="0">
                <a:ea typeface="+mn-lt"/>
                <a:cs typeface="+mn-lt"/>
              </a:rPr>
              <a:t> – used to run something after all tests</a:t>
            </a:r>
          </a:p>
          <a:p>
            <a:r>
              <a:rPr lang="en-US" sz="1600" dirty="0">
                <a:ea typeface="+mn-lt"/>
                <a:cs typeface="+mn-lt"/>
              </a:rPr>
              <a:t>•@Disabled – used to disable test cases</a:t>
            </a:r>
          </a:p>
          <a:p>
            <a:r>
              <a:rPr lang="en-US" sz="1600" dirty="0">
                <a:ea typeface="+mn-lt"/>
                <a:cs typeface="+mn-lt"/>
              </a:rPr>
              <a:t>•@Tag – used to declare tags for filtering tests</a:t>
            </a:r>
          </a:p>
          <a:p>
            <a:endParaRPr lang="en-US" sz="1600">
              <a:ea typeface="+mn-lt"/>
              <a:cs typeface="+mn-lt"/>
            </a:endParaRP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A3BDCBD3-E8DF-433B-37AD-1D0AD2D7B3F2}"/>
              </a:ext>
            </a:extLst>
          </p:cNvPr>
          <p:cNvSpPr txBox="1">
            <a:spLocks/>
          </p:cNvSpPr>
          <p:nvPr/>
        </p:nvSpPr>
        <p:spPr>
          <a:xfrm>
            <a:off x="557665" y="719170"/>
            <a:ext cx="8200013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50" b="1" kern="12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IN" sz="2000">
                <a:ea typeface="+mj-lt"/>
                <a:cs typeface="+mj-lt"/>
              </a:rPr>
              <a:t>Junit annotations</a:t>
            </a:r>
            <a:endParaRPr lang="en-US">
              <a:ea typeface="+mj-lt"/>
              <a:cs typeface="+mj-lt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99C377A-1777-47A9-4100-6D6747B14A3E}"/>
              </a:ext>
            </a:extLst>
          </p:cNvPr>
          <p:cNvSpPr txBox="1">
            <a:spLocks/>
          </p:cNvSpPr>
          <p:nvPr/>
        </p:nvSpPr>
        <p:spPr>
          <a:xfrm>
            <a:off x="556653" y="4690960"/>
            <a:ext cx="8201025" cy="14742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15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185166" indent="-12344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•"/>
              <a:defRPr lang="en-US" sz="15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363474" indent="-1242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–"/>
              <a:defRPr lang="en-US" sz="15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21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21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185166" indent="-123444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38C6F3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33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4050" b="1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1800" b="1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r>
              <a:rPr lang="en-US" sz="1600" err="1">
                <a:ea typeface="+mn-lt"/>
                <a:cs typeface="+mn-lt"/>
              </a:rPr>
              <a:t>assertEquals</a:t>
            </a:r>
            <a:r>
              <a:rPr lang="en-US" sz="1600">
                <a:ea typeface="+mn-lt"/>
                <a:cs typeface="+mn-lt"/>
              </a:rPr>
              <a:t>(): - Asserts that two values are equal.</a:t>
            </a:r>
            <a:endParaRPr lang="en-US">
              <a:ea typeface="+mn-lt"/>
              <a:cs typeface="+mn-lt"/>
            </a:endParaRPr>
          </a:p>
          <a:p>
            <a:r>
              <a:rPr lang="en-US" sz="1600" err="1">
                <a:ea typeface="+mn-lt"/>
                <a:cs typeface="+mn-lt"/>
              </a:rPr>
              <a:t>assertNotEquals</a:t>
            </a:r>
            <a:r>
              <a:rPr lang="en-US" sz="1600">
                <a:ea typeface="+mn-lt"/>
                <a:cs typeface="+mn-lt"/>
              </a:rPr>
              <a:t>(): - Asserts that two values are not equal.</a:t>
            </a:r>
            <a:endParaRPr lang="en-US">
              <a:ea typeface="+mn-lt"/>
              <a:cs typeface="+mn-lt"/>
            </a:endParaRPr>
          </a:p>
          <a:p>
            <a:r>
              <a:rPr lang="en-US" sz="1600" err="1">
                <a:ea typeface="+mn-lt"/>
                <a:cs typeface="+mn-lt"/>
              </a:rPr>
              <a:t>assertTrue</a:t>
            </a:r>
            <a:r>
              <a:rPr lang="en-US" sz="1600">
                <a:ea typeface="+mn-lt"/>
                <a:cs typeface="+mn-lt"/>
              </a:rPr>
              <a:t>(): - Asserts that a condition is true.</a:t>
            </a:r>
            <a:endParaRPr lang="en-US">
              <a:ea typeface="+mn-lt"/>
              <a:cs typeface="+mn-lt"/>
            </a:endParaRPr>
          </a:p>
          <a:p>
            <a:r>
              <a:rPr lang="en-US" sz="1600" dirty="0" err="1">
                <a:ea typeface="+mn-lt"/>
                <a:cs typeface="+mn-lt"/>
              </a:rPr>
              <a:t>assertFalse</a:t>
            </a:r>
            <a:r>
              <a:rPr lang="en-US" sz="1600" dirty="0">
                <a:ea typeface="+mn-lt"/>
                <a:cs typeface="+mn-lt"/>
              </a:rPr>
              <a:t>(): - Asserts that a condition is false.</a:t>
            </a:r>
            <a:endParaRPr lang="en-US" dirty="0">
              <a:ea typeface="+mn-lt"/>
              <a:cs typeface="+mn-lt"/>
            </a:endParaRPr>
          </a:p>
          <a:p>
            <a:r>
              <a:rPr lang="en-US" sz="1600" dirty="0" err="1">
                <a:ea typeface="+mn-lt"/>
                <a:cs typeface="+mn-lt"/>
              </a:rPr>
              <a:t>assertNull</a:t>
            </a:r>
            <a:r>
              <a:rPr lang="en-US" sz="1600" dirty="0">
                <a:ea typeface="+mn-lt"/>
                <a:cs typeface="+mn-lt"/>
              </a:rPr>
              <a:t>(): - Asserts that a value is null</a:t>
            </a:r>
            <a:endParaRPr lang="en-US" dirty="0">
              <a:ea typeface="+mn-lt"/>
              <a:cs typeface="+mn-lt"/>
            </a:endParaRPr>
          </a:p>
          <a:p>
            <a:r>
              <a:rPr lang="en-US" sz="1600" dirty="0" err="1">
                <a:ea typeface="+mn-lt"/>
                <a:cs typeface="+mn-lt"/>
              </a:rPr>
              <a:t>assertNotNull</a:t>
            </a:r>
            <a:r>
              <a:rPr lang="en-US" sz="1600" dirty="0">
                <a:ea typeface="+mn-lt"/>
                <a:cs typeface="+mn-lt"/>
              </a:rPr>
              <a:t>(): - Asserts that a value is not null.</a:t>
            </a:r>
            <a:endParaRPr lang="en-US" dirty="0">
              <a:ea typeface="+mn-lt"/>
              <a:cs typeface="+mn-lt"/>
            </a:endParaRPr>
          </a:p>
          <a:p>
            <a:endParaRPr lang="en-US" sz="1600" dirty="0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45271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A9ACC5-C54E-DC1B-5DF2-2E6C978DDC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747A1AA-8FA3-4260-9E90-6D85260BF9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47A1AA-8FA3-4260-9E90-6D85260BF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3CF70BDC-548C-7ADE-12FD-8FF860AE8A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4E24C677-8A3A-AD4B-D218-5314F33C7C50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58B9B28B-9EE8-B7BC-F3E0-2E5F2BBB159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E6A5397-3CC5-22DF-7FE3-BB9C7B96095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6E4F3049-F25A-C4B8-F381-4A3A78C12F6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A56CE40-4CD0-8345-1894-F380A2B57D3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92E776CC-6562-20A8-81EC-307C74E870C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C9EA17B6-243C-666B-527C-C593543961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r>
              <a:rPr lang="en-IN" sz="2000" b="1"/>
              <a:t>                                   Building With Maven</a:t>
            </a:r>
            <a:br>
              <a:rPr lang="en-IN" sz="2000" b="1"/>
            </a:b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E59831-5401-9342-F164-8EDA020A92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792929"/>
            <a:ext cx="7834313" cy="329254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en-US">
              <a:solidFill>
                <a:srgbClr val="273239"/>
              </a:solidFill>
              <a:latin typeface="inter-regular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>
                <a:solidFill>
                  <a:srgbClr val="273239"/>
                </a:solidFill>
                <a:latin typeface="inter-regular"/>
              </a:rPr>
              <a:t>Overview of Mave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>
                <a:solidFill>
                  <a:srgbClr val="273239"/>
                </a:solidFill>
                <a:latin typeface="inter-regular"/>
              </a:rPr>
              <a:t>Maven POM.XML Fil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>
                <a:solidFill>
                  <a:srgbClr val="273239"/>
                </a:solidFill>
                <a:latin typeface="inter-regular"/>
              </a:rPr>
              <a:t>Environment Setup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>
                <a:solidFill>
                  <a:srgbClr val="273239"/>
                </a:solidFill>
                <a:latin typeface="inter-regular"/>
              </a:rPr>
              <a:t>Creating a java project using mave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>
                <a:solidFill>
                  <a:srgbClr val="273239"/>
                </a:solidFill>
                <a:latin typeface="inter-regular"/>
              </a:rPr>
              <a:t>Maven Directory Structur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>
                <a:solidFill>
                  <a:srgbClr val="273239"/>
                </a:solidFill>
                <a:latin typeface="inter-regular"/>
              </a:rPr>
              <a:t>Executing the </a:t>
            </a:r>
            <a:r>
              <a:rPr lang="en-US" err="1">
                <a:solidFill>
                  <a:srgbClr val="273239"/>
                </a:solidFill>
                <a:latin typeface="inter-regular"/>
              </a:rPr>
              <a:t>mvn</a:t>
            </a:r>
            <a:r>
              <a:rPr lang="en-US">
                <a:solidFill>
                  <a:srgbClr val="273239"/>
                </a:solidFill>
                <a:latin typeface="inter-regular"/>
              </a:rPr>
              <a:t> command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>
              <a:latin typeface="+mj-lt"/>
            </a:endParaRPr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469AD8BF-8A5E-8D30-1DD6-74E0C4C0DD04}"/>
              </a:ext>
            </a:extLst>
          </p:cNvPr>
          <p:cNvSpPr txBox="1">
            <a:spLocks/>
          </p:cNvSpPr>
          <p:nvPr/>
        </p:nvSpPr>
        <p:spPr>
          <a:xfrm>
            <a:off x="887852" y="1198602"/>
            <a:ext cx="2922148" cy="8309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50" b="1" kern="12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IN" sz="2000"/>
              <a:t>                                   Agenda</a:t>
            </a:r>
            <a:br>
              <a:rPr lang="en-IN" sz="2000"/>
            </a:br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230958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7C8186-3D96-7B2E-3D48-C36D51BB44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671BE8-9809-313A-22A8-3EACD9FCE0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671BE8-9809-313A-22A8-3EACD9FCE0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423A5D0-BF5E-6A14-72E4-333758B296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0E84DBCC-F3B6-C183-DF48-498D1C6E3646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2E75845C-4810-85F6-0A04-15AEA659C4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41CEA52-D538-96D9-601B-288F4CE819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F9100EE2-1CDD-6CF8-1AEC-90008A1C97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3807FE6-5FDE-6618-CB2F-0A7990CE6B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54AF877-2416-F01A-CCD7-B71532D60D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C844F087-AC70-3868-2C23-B05C212CC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IN" sz="2000">
                <a:ea typeface="+mj-lt"/>
                <a:cs typeface="+mj-lt"/>
              </a:rPr>
              <a:t>Example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812D1A-279F-2E10-E3D7-C6CCDE96F4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2183477"/>
            <a:ext cx="8201025" cy="62936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>
                <a:ea typeface="+mn-lt"/>
                <a:cs typeface="+mn-lt"/>
              </a:rPr>
              <a:t>https://github.com/BobdiyaNayak/Junit</a:t>
            </a:r>
            <a:endParaRPr lang="en-US" sz="2000" b="1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6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7C8186-3D96-7B2E-3D48-C36D51BB44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671BE8-9809-313A-22A8-3EACD9FCE0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671BE8-9809-313A-22A8-3EACD9FCE0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423A5D0-BF5E-6A14-72E4-333758B296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0E84DBCC-F3B6-C183-DF48-498D1C6E3646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2E75845C-4810-85F6-0A04-15AEA659C4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41CEA52-D538-96D9-601B-288F4CE819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F9100EE2-1CDD-6CF8-1AEC-90008A1C97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3807FE6-5FDE-6618-CB2F-0A7990CE6B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54AF877-2416-F01A-CCD7-B71532D60D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C844F087-AC70-3868-2C23-B05C212CC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IN" sz="2000">
                <a:ea typeface="+mj-lt"/>
                <a:cs typeface="+mj-lt"/>
              </a:rPr>
              <a:t>Handling exceptions in Junit  </a:t>
            </a:r>
            <a:endParaRPr lang="en-US">
              <a:ea typeface="+mj-lt"/>
              <a:cs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812D1A-279F-2E10-E3D7-C6CCDE96F4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1229229"/>
            <a:ext cx="8201025" cy="62936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err="1">
                <a:ea typeface="+mn-lt"/>
                <a:cs typeface="+mn-lt"/>
              </a:rPr>
              <a:t>AssertThrows</a:t>
            </a:r>
            <a:endParaRPr lang="en-US" sz="1600">
              <a:ea typeface="+mn-lt"/>
              <a:cs typeface="+mn-lt"/>
            </a:endParaRP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4F7A8B66-F71B-03CE-6B7E-5461D3E344C3}"/>
              </a:ext>
            </a:extLst>
          </p:cNvPr>
          <p:cNvSpPr txBox="1">
            <a:spLocks/>
          </p:cNvSpPr>
          <p:nvPr/>
        </p:nvSpPr>
        <p:spPr>
          <a:xfrm>
            <a:off x="467606" y="1855283"/>
            <a:ext cx="8200013" cy="8309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50" b="1" kern="1200">
                <a:solidFill>
                  <a:srgbClr val="0000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IN" sz="2000">
                <a:ea typeface="+mj-lt"/>
                <a:cs typeface="+mj-lt"/>
              </a:rPr>
              <a:t>Creating test suites</a:t>
            </a:r>
            <a:endParaRPr lang="en-US">
              <a:ea typeface="+mj-lt"/>
              <a:cs typeface="+mj-lt"/>
            </a:endParaRPr>
          </a:p>
          <a:p>
            <a:r>
              <a:rPr lang="en-IN" sz="1800" b="0">
                <a:ea typeface="+mj-lt"/>
                <a:cs typeface="+mj-lt"/>
              </a:rPr>
              <a:t> A test suite is used to bundle and run test cases together</a:t>
            </a:r>
          </a:p>
          <a:p>
            <a:endParaRPr lang="en-IN" sz="2000">
              <a:ea typeface="+mj-lt"/>
              <a:cs typeface="+mj-lt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AF72E13-4CF5-C347-E81C-9C2CCC897D99}"/>
              </a:ext>
            </a:extLst>
          </p:cNvPr>
          <p:cNvSpPr txBox="1">
            <a:spLocks/>
          </p:cNvSpPr>
          <p:nvPr/>
        </p:nvSpPr>
        <p:spPr>
          <a:xfrm>
            <a:off x="183466" y="2482684"/>
            <a:ext cx="8660466" cy="27685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15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185166" indent="-12344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•"/>
              <a:defRPr lang="en-US" sz="15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363474" indent="-1242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–"/>
              <a:defRPr lang="en-US" sz="15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21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21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185166" indent="-123444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38C6F3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33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4050" b="1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1800" b="1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285750" indent="-285750"/>
            <a:r>
              <a:rPr lang="en-US" sz="1700" dirty="0">
                <a:solidFill>
                  <a:srgbClr val="0D0D0D"/>
                </a:solidFill>
                <a:ea typeface="+mn-lt"/>
                <a:cs typeface="+mn-lt"/>
              </a:rPr>
              <a:t>•@Suite – denotes that the class is a test suite</a:t>
            </a:r>
          </a:p>
          <a:p>
            <a:pPr marL="285750" indent="-285750"/>
            <a:r>
              <a:rPr lang="en-US" sz="1700" dirty="0">
                <a:solidFill>
                  <a:srgbClr val="0D0D0D"/>
                </a:solidFill>
                <a:ea typeface="+mn-lt"/>
                <a:cs typeface="+mn-lt"/>
              </a:rPr>
              <a:t>•@</a:t>
            </a:r>
            <a:r>
              <a:rPr lang="en-US" sz="1700" dirty="0" err="1">
                <a:solidFill>
                  <a:srgbClr val="0D0D0D"/>
                </a:solidFill>
                <a:ea typeface="+mn-lt"/>
                <a:cs typeface="+mn-lt"/>
              </a:rPr>
              <a:t>SelectClasses</a:t>
            </a:r>
            <a:r>
              <a:rPr lang="en-US" sz="1700" dirty="0">
                <a:solidFill>
                  <a:srgbClr val="0D0D0D"/>
                </a:solidFill>
                <a:ea typeface="+mn-lt"/>
                <a:cs typeface="+mn-lt"/>
              </a:rPr>
              <a:t> - specifies the names of classes to select when running a test suite</a:t>
            </a:r>
          </a:p>
          <a:p>
            <a:pPr marL="285750" indent="-285750"/>
            <a:r>
              <a:rPr lang="en-US" sz="1700" dirty="0">
                <a:solidFill>
                  <a:srgbClr val="0D0D0D"/>
                </a:solidFill>
                <a:ea typeface="+mn-lt"/>
                <a:cs typeface="+mn-lt"/>
              </a:rPr>
              <a:t>•@</a:t>
            </a:r>
            <a:r>
              <a:rPr lang="en-US" sz="1700" dirty="0" err="1">
                <a:solidFill>
                  <a:srgbClr val="0D0D0D"/>
                </a:solidFill>
                <a:ea typeface="+mn-lt"/>
                <a:cs typeface="+mn-lt"/>
              </a:rPr>
              <a:t>SelectPackages</a:t>
            </a:r>
            <a:r>
              <a:rPr lang="en-US" sz="1700" dirty="0">
                <a:solidFill>
                  <a:srgbClr val="0D0D0D"/>
                </a:solidFill>
                <a:ea typeface="+mn-lt"/>
                <a:cs typeface="+mn-lt"/>
              </a:rPr>
              <a:t> - specifies the names of packages to select when running a test suite</a:t>
            </a:r>
          </a:p>
          <a:p>
            <a:pPr marL="285750" indent="-285750"/>
            <a:r>
              <a:rPr lang="en-US" sz="1700" dirty="0">
                <a:solidFill>
                  <a:srgbClr val="0D0D0D"/>
                </a:solidFill>
                <a:ea typeface="+mn-lt"/>
                <a:cs typeface="+mn-lt"/>
              </a:rPr>
              <a:t>•@</a:t>
            </a:r>
            <a:r>
              <a:rPr lang="en-US" sz="1700" dirty="0" err="1">
                <a:solidFill>
                  <a:srgbClr val="0D0D0D"/>
                </a:solidFill>
                <a:ea typeface="+mn-lt"/>
                <a:cs typeface="+mn-lt"/>
              </a:rPr>
              <a:t>IncludePackages</a:t>
            </a:r>
            <a:r>
              <a:rPr lang="en-US" sz="1700" dirty="0">
                <a:solidFill>
                  <a:srgbClr val="0D0D0D"/>
                </a:solidFill>
                <a:ea typeface="+mn-lt"/>
                <a:cs typeface="+mn-lt"/>
              </a:rPr>
              <a:t> – used to include subpackages</a:t>
            </a:r>
          </a:p>
          <a:p>
            <a:pPr marL="285750" indent="-285750"/>
            <a:r>
              <a:rPr lang="en-US" sz="1700" dirty="0">
                <a:solidFill>
                  <a:srgbClr val="0D0D0D"/>
                </a:solidFill>
                <a:ea typeface="+mn-lt"/>
                <a:cs typeface="+mn-lt"/>
              </a:rPr>
              <a:t>•@</a:t>
            </a:r>
            <a:r>
              <a:rPr lang="en-US" sz="1700" dirty="0" err="1">
                <a:solidFill>
                  <a:srgbClr val="0D0D0D"/>
                </a:solidFill>
                <a:ea typeface="+mn-lt"/>
                <a:cs typeface="+mn-lt"/>
              </a:rPr>
              <a:t>ExcludePackages</a:t>
            </a:r>
            <a:r>
              <a:rPr lang="en-US" sz="1700" dirty="0">
                <a:solidFill>
                  <a:srgbClr val="0D0D0D"/>
                </a:solidFill>
                <a:ea typeface="+mn-lt"/>
                <a:cs typeface="+mn-lt"/>
              </a:rPr>
              <a:t> – used to exclude subpackages</a:t>
            </a:r>
          </a:p>
          <a:p>
            <a:pPr marL="285750" indent="-285750"/>
            <a:r>
              <a:rPr lang="en-US" sz="1700" dirty="0">
                <a:solidFill>
                  <a:srgbClr val="0D0D0D"/>
                </a:solidFill>
                <a:ea typeface="+mn-lt"/>
                <a:cs typeface="+mn-lt"/>
              </a:rPr>
              <a:t>•@</a:t>
            </a:r>
            <a:r>
              <a:rPr lang="en-US" sz="1700" dirty="0" err="1">
                <a:solidFill>
                  <a:srgbClr val="0D0D0D"/>
                </a:solidFill>
                <a:ea typeface="+mn-lt"/>
                <a:cs typeface="+mn-lt"/>
              </a:rPr>
              <a:t>IncludeClassNamePatterns</a:t>
            </a:r>
            <a:r>
              <a:rPr lang="en-US" sz="1700" dirty="0">
                <a:solidFill>
                  <a:srgbClr val="0D0D0D"/>
                </a:solidFill>
                <a:ea typeface="+mn-lt"/>
                <a:cs typeface="+mn-lt"/>
              </a:rPr>
              <a:t> – used to include all classes that match a pattern</a:t>
            </a:r>
          </a:p>
          <a:p>
            <a:pPr marL="285750" indent="-285750"/>
            <a:r>
              <a:rPr lang="en-US" sz="1700" dirty="0">
                <a:solidFill>
                  <a:srgbClr val="0D0D0D"/>
                </a:solidFill>
                <a:ea typeface="+mn-lt"/>
                <a:cs typeface="+mn-lt"/>
              </a:rPr>
              <a:t>•@</a:t>
            </a:r>
            <a:r>
              <a:rPr lang="en-US" sz="1700" dirty="0" err="1">
                <a:solidFill>
                  <a:srgbClr val="0D0D0D"/>
                </a:solidFill>
                <a:ea typeface="+mn-lt"/>
                <a:cs typeface="+mn-lt"/>
              </a:rPr>
              <a:t>ExcludeClassNamePatterns</a:t>
            </a:r>
            <a:r>
              <a:rPr lang="en-US" sz="1700" dirty="0">
                <a:solidFill>
                  <a:srgbClr val="0D0D0D"/>
                </a:solidFill>
                <a:ea typeface="+mn-lt"/>
                <a:cs typeface="+mn-lt"/>
              </a:rPr>
              <a:t> – used to exclude all classes that match a pattern</a:t>
            </a:r>
          </a:p>
          <a:p>
            <a:pPr marL="285750" indent="-285750"/>
            <a:r>
              <a:rPr lang="en-US" sz="1700" dirty="0">
                <a:solidFill>
                  <a:srgbClr val="0D0D0D"/>
                </a:solidFill>
                <a:ea typeface="+mn-lt"/>
                <a:cs typeface="+mn-lt"/>
              </a:rPr>
              <a:t>•@</a:t>
            </a:r>
            <a:r>
              <a:rPr lang="en-US" sz="1700" dirty="0" err="1">
                <a:solidFill>
                  <a:srgbClr val="0D0D0D"/>
                </a:solidFill>
                <a:ea typeface="+mn-lt"/>
                <a:cs typeface="+mn-lt"/>
              </a:rPr>
              <a:t>IncludeTags</a:t>
            </a:r>
            <a:r>
              <a:rPr lang="en-US" sz="1700" dirty="0">
                <a:solidFill>
                  <a:srgbClr val="0D0D0D"/>
                </a:solidFill>
                <a:ea typeface="+mn-lt"/>
                <a:cs typeface="+mn-lt"/>
              </a:rPr>
              <a:t> – used to include tests with specific tags</a:t>
            </a:r>
          </a:p>
          <a:p>
            <a:pPr marL="285750" indent="-285750"/>
            <a:r>
              <a:rPr lang="en-US" sz="1700" dirty="0">
                <a:solidFill>
                  <a:srgbClr val="0D0D0D"/>
                </a:solidFill>
                <a:ea typeface="+mn-lt"/>
                <a:cs typeface="+mn-lt"/>
              </a:rPr>
              <a:t>•@</a:t>
            </a:r>
            <a:r>
              <a:rPr lang="en-US" sz="1700" dirty="0" err="1">
                <a:solidFill>
                  <a:srgbClr val="0D0D0D"/>
                </a:solidFill>
                <a:ea typeface="+mn-lt"/>
                <a:cs typeface="+mn-lt"/>
              </a:rPr>
              <a:t>ExcludeTags</a:t>
            </a:r>
            <a:r>
              <a:rPr lang="en-US" sz="1700" dirty="0">
                <a:solidFill>
                  <a:srgbClr val="0D0D0D"/>
                </a:solidFill>
                <a:ea typeface="+mn-lt"/>
                <a:cs typeface="+mn-lt"/>
              </a:rPr>
              <a:t> – used to exclude tests with specific tags</a:t>
            </a:r>
            <a:endParaRPr lang="en-US" sz="1700" dirty="0">
              <a:ea typeface="+mn-lt"/>
              <a:cs typeface="+mn-lt"/>
            </a:endParaRPr>
          </a:p>
          <a:p>
            <a:pPr marL="285750" indent="-285750"/>
            <a:endParaRPr lang="en-US" sz="1700" dirty="0">
              <a:solidFill>
                <a:srgbClr val="0D0D0D"/>
              </a:solidFill>
              <a:ea typeface="+mn-lt"/>
              <a:cs typeface="+mn-lt"/>
            </a:endParaRPr>
          </a:p>
          <a:p>
            <a:pPr marL="285750" indent="-285750"/>
            <a:endParaRPr lang="en-US" sz="1700">
              <a:solidFill>
                <a:srgbClr val="0D0D0D"/>
              </a:solidFill>
              <a:ea typeface="+mn-lt"/>
              <a:cs typeface="+mn-lt"/>
            </a:endParaRPr>
          </a:p>
          <a:p>
            <a:endParaRPr lang="en-US" sz="1700">
              <a:solidFill>
                <a:srgbClr val="0D0D0D"/>
              </a:solidFill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2019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7C8186-3D96-7B2E-3D48-C36D51BB44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671BE8-9809-313A-22A8-3EACD9FCE0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671BE8-9809-313A-22A8-3EACD9FCE0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423A5D0-BF5E-6A14-72E4-333758B296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0E84DBCC-F3B6-C183-DF48-498D1C6E3646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2E75845C-4810-85F6-0A04-15AEA659C4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41CEA52-D538-96D9-601B-288F4CE819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F9100EE2-1CDD-6CF8-1AEC-90008A1C97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3807FE6-5FDE-6618-CB2F-0A7990CE6B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54AF877-2416-F01A-CCD7-B71532D60D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C844F087-AC70-3868-2C23-B05C212CC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IN" sz="2000">
                <a:ea typeface="+mj-lt"/>
                <a:cs typeface="+mj-lt"/>
              </a:rPr>
              <a:t>Junit report</a:t>
            </a:r>
            <a:endParaRPr lang="en-US">
              <a:ea typeface="+mj-lt"/>
              <a:cs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812D1A-279F-2E10-E3D7-C6CCDE96F4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1229229"/>
            <a:ext cx="8201025" cy="120086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 dirty="0">
                <a:ea typeface="+mn-lt"/>
                <a:cs typeface="+mn-lt"/>
              </a:rPr>
              <a:t>•XML Reports:</a:t>
            </a:r>
            <a:endParaRPr lang="en-US" dirty="0">
              <a:cs typeface="Arial" panose="020B0604020202020204"/>
            </a:endParaRPr>
          </a:p>
          <a:p>
            <a:pPr marL="61595" lvl="1" indent="0">
              <a:buNone/>
            </a:pPr>
            <a:r>
              <a:rPr lang="en-US" sz="1600" dirty="0">
                <a:ea typeface="+mn-lt"/>
                <a:cs typeface="+mn-lt"/>
              </a:rPr>
              <a:t> </a:t>
            </a:r>
            <a:r>
              <a:rPr lang="en-US" sz="1600" dirty="0" err="1">
                <a:ea typeface="+mn-lt"/>
                <a:cs typeface="+mn-lt"/>
              </a:rPr>
              <a:t>i</a:t>
            </a:r>
            <a:r>
              <a:rPr lang="en-US" sz="1600" dirty="0">
                <a:ea typeface="+mn-lt"/>
                <a:cs typeface="+mn-lt"/>
              </a:rPr>
              <a:t>. maven test</a:t>
            </a:r>
          </a:p>
          <a:p>
            <a:pPr marL="61595" lvl="1" indent="-123190">
              <a:buNone/>
            </a:pPr>
            <a:r>
              <a:rPr lang="en-US" sz="1600" dirty="0">
                <a:ea typeface="+mn-lt"/>
                <a:cs typeface="+mn-lt"/>
              </a:rPr>
              <a:t> ii. maven test –</a:t>
            </a:r>
            <a:r>
              <a:rPr lang="en-US" sz="1600" dirty="0" err="1">
                <a:ea typeface="+mn-lt"/>
                <a:cs typeface="+mn-lt"/>
              </a:rPr>
              <a:t>Dtest</a:t>
            </a:r>
            <a:r>
              <a:rPr lang="en-US" sz="1600" dirty="0">
                <a:ea typeface="+mn-lt"/>
                <a:cs typeface="+mn-lt"/>
              </a:rPr>
              <a:t>="</a:t>
            </a:r>
            <a:r>
              <a:rPr lang="en-US" sz="1600" dirty="0" err="1">
                <a:ea typeface="+mn-lt"/>
                <a:cs typeface="+mn-lt"/>
              </a:rPr>
              <a:t>ClassName</a:t>
            </a:r>
            <a:r>
              <a:rPr lang="en-US" sz="1600" dirty="0">
                <a:ea typeface="+mn-lt"/>
                <a:cs typeface="+mn-lt"/>
              </a:rPr>
              <a:t>"</a:t>
            </a:r>
          </a:p>
          <a:p>
            <a:r>
              <a:rPr lang="en-US" sz="1600" dirty="0">
                <a:ea typeface="+mn-lt"/>
                <a:cs typeface="+mn-lt"/>
              </a:rPr>
              <a:t>•HTML Reports:</a:t>
            </a:r>
            <a:endParaRPr lang="en-US" dirty="0" err="1">
              <a:ea typeface="+mn-lt"/>
              <a:cs typeface="+mn-lt"/>
            </a:endParaRPr>
          </a:p>
          <a:p>
            <a:pPr marL="61595" lvl="1" indent="0">
              <a:buNone/>
            </a:pPr>
            <a:r>
              <a:rPr lang="en-US" sz="1600" dirty="0">
                <a:ea typeface="+mn-lt"/>
                <a:cs typeface="+mn-lt"/>
              </a:rPr>
              <a:t> </a:t>
            </a:r>
            <a:r>
              <a:rPr lang="en-US" sz="1600" dirty="0" err="1">
                <a:ea typeface="+mn-lt"/>
                <a:cs typeface="+mn-lt"/>
              </a:rPr>
              <a:t>i</a:t>
            </a:r>
            <a:r>
              <a:rPr lang="en-US" sz="1600" dirty="0">
                <a:ea typeface="+mn-lt"/>
                <a:cs typeface="+mn-lt"/>
              </a:rPr>
              <a:t>. maven </a:t>
            </a:r>
            <a:r>
              <a:rPr lang="en-US" sz="1600" dirty="0" err="1">
                <a:ea typeface="+mn-lt"/>
                <a:cs typeface="+mn-lt"/>
              </a:rPr>
              <a:t>surefire-report:report</a:t>
            </a:r>
            <a:endParaRPr lang="en-US" dirty="0">
              <a:ea typeface="+mn-lt"/>
              <a:cs typeface="+mn-lt"/>
            </a:endParaRPr>
          </a:p>
          <a:p>
            <a:endParaRPr lang="en-US" sz="1600">
              <a:ea typeface="+mn-lt"/>
              <a:cs typeface="+mn-lt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9FC2B1F-2DD6-68A9-B273-ED318239AB01}"/>
              </a:ext>
            </a:extLst>
          </p:cNvPr>
          <p:cNvSpPr txBox="1">
            <a:spLocks/>
          </p:cNvSpPr>
          <p:nvPr/>
        </p:nvSpPr>
        <p:spPr>
          <a:xfrm>
            <a:off x="231270" y="2606874"/>
            <a:ext cx="3931583" cy="424712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15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185166" indent="-123444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•"/>
              <a:defRPr lang="en-US" sz="15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363474" indent="-1242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–"/>
              <a:defRPr lang="en-US" sz="15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21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21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185166" indent="-123444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rgbClr val="38C6F3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33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4050" b="1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rgbClr val="38C6F3"/>
              </a:buClr>
              <a:buFont typeface="Arial" panose="020B0604020202020204" pitchFamily="34" charset="0"/>
              <a:buChar char="​"/>
              <a:defRPr lang="en-US" sz="1800" b="1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r>
              <a:rPr lang="en-US" sz="1000">
                <a:ea typeface="+mn-lt"/>
                <a:cs typeface="+mn-lt"/>
              </a:rPr>
              <a:t>&lt;build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plugins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plugin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</a:t>
            </a:r>
            <a:r>
              <a:rPr lang="en-US" sz="1000" err="1">
                <a:ea typeface="+mn-lt"/>
                <a:cs typeface="+mn-lt"/>
              </a:rPr>
              <a:t>artifactId</a:t>
            </a:r>
            <a:r>
              <a:rPr lang="en-US" sz="1000">
                <a:ea typeface="+mn-lt"/>
                <a:cs typeface="+mn-lt"/>
              </a:rPr>
              <a:t>&gt;maven-surefire-plugin&lt;/</a:t>
            </a:r>
            <a:r>
              <a:rPr lang="en-US" sz="1000" err="1">
                <a:ea typeface="+mn-lt"/>
                <a:cs typeface="+mn-lt"/>
              </a:rPr>
              <a:t>artifactId</a:t>
            </a:r>
            <a:r>
              <a:rPr lang="en-US" sz="1000">
                <a:ea typeface="+mn-lt"/>
                <a:cs typeface="+mn-lt"/>
              </a:rPr>
              <a:t>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version&gt;3.2.5&lt;/version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configuration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properties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</a:t>
            </a:r>
            <a:r>
              <a:rPr lang="en-US" sz="1000" err="1">
                <a:ea typeface="+mn-lt"/>
                <a:cs typeface="+mn-lt"/>
              </a:rPr>
              <a:t>configurationParameters</a:t>
            </a:r>
            <a:r>
              <a:rPr lang="en-US" sz="1000">
                <a:ea typeface="+mn-lt"/>
                <a:cs typeface="+mn-lt"/>
              </a:rPr>
              <a:t>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</a:t>
            </a:r>
            <a:r>
              <a:rPr lang="en-US" sz="1000" err="1">
                <a:ea typeface="+mn-lt"/>
                <a:cs typeface="+mn-lt"/>
              </a:rPr>
              <a:t>junit.platform.reporting.open.xml.enabled</a:t>
            </a:r>
            <a:r>
              <a:rPr lang="en-US" sz="1000">
                <a:ea typeface="+mn-lt"/>
                <a:cs typeface="+mn-lt"/>
              </a:rPr>
              <a:t> = true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</a:t>
            </a:r>
            <a:r>
              <a:rPr lang="en-US" sz="1000" err="1">
                <a:ea typeface="+mn-lt"/>
                <a:cs typeface="+mn-lt"/>
              </a:rPr>
              <a:t>junit.platform.reporting.output.dir</a:t>
            </a:r>
            <a:r>
              <a:rPr lang="en-US" sz="1000">
                <a:ea typeface="+mn-lt"/>
                <a:cs typeface="+mn-lt"/>
              </a:rPr>
              <a:t> = target/test-</a:t>
            </a:r>
            <a:r>
              <a:rPr lang="en-US" sz="1000" err="1">
                <a:ea typeface="+mn-lt"/>
                <a:cs typeface="+mn-lt"/>
              </a:rPr>
              <a:t>junit</a:t>
            </a:r>
            <a:r>
              <a:rPr lang="en-US" sz="1000">
                <a:ea typeface="+mn-lt"/>
                <a:cs typeface="+mn-lt"/>
              </a:rPr>
              <a:t>-report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/</a:t>
            </a:r>
            <a:r>
              <a:rPr lang="en-US" sz="1000" err="1">
                <a:ea typeface="+mn-lt"/>
                <a:cs typeface="+mn-lt"/>
              </a:rPr>
              <a:t>configurationParameters</a:t>
            </a:r>
            <a:r>
              <a:rPr lang="en-US" sz="1000">
                <a:ea typeface="+mn-lt"/>
                <a:cs typeface="+mn-lt"/>
              </a:rPr>
              <a:t>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/properties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/configuration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/plugin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/plugins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&lt;/build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&lt;reporting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plugins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plugin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</a:t>
            </a:r>
            <a:r>
              <a:rPr lang="en-US" sz="1000" err="1">
                <a:ea typeface="+mn-lt"/>
                <a:cs typeface="+mn-lt"/>
              </a:rPr>
              <a:t>groupId</a:t>
            </a:r>
            <a:r>
              <a:rPr lang="en-US" sz="1000">
                <a:ea typeface="+mn-lt"/>
                <a:cs typeface="+mn-lt"/>
              </a:rPr>
              <a:t>&gt;</a:t>
            </a:r>
            <a:r>
              <a:rPr lang="en-US" sz="1000" err="1">
                <a:ea typeface="+mn-lt"/>
                <a:cs typeface="+mn-lt"/>
              </a:rPr>
              <a:t>org.apache.maven.plugins</a:t>
            </a:r>
            <a:r>
              <a:rPr lang="en-US" sz="1000">
                <a:ea typeface="+mn-lt"/>
                <a:cs typeface="+mn-lt"/>
              </a:rPr>
              <a:t>&lt;/</a:t>
            </a:r>
            <a:r>
              <a:rPr lang="en-US" sz="1000" err="1">
                <a:ea typeface="+mn-lt"/>
                <a:cs typeface="+mn-lt"/>
              </a:rPr>
              <a:t>groupId</a:t>
            </a:r>
            <a:r>
              <a:rPr lang="en-US" sz="1000">
                <a:ea typeface="+mn-lt"/>
                <a:cs typeface="+mn-lt"/>
              </a:rPr>
              <a:t>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artifactId&gt;maven-surefire-report-plugin&lt;/artifactId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version&gt;2.22.2&lt;/version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/plugin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  &lt;/plugins&gt;</a:t>
            </a:r>
            <a:endParaRPr lang="en-US" sz="1800">
              <a:cs typeface="Arial"/>
            </a:endParaRPr>
          </a:p>
          <a:p>
            <a:r>
              <a:rPr lang="en-US" sz="1000">
                <a:ea typeface="+mn-lt"/>
                <a:cs typeface="+mn-lt"/>
              </a:rPr>
              <a:t>&lt;/reporting&gt;</a:t>
            </a:r>
            <a:endParaRPr lang="en-US" sz="1800">
              <a:cs typeface="Arial"/>
            </a:endParaRPr>
          </a:p>
          <a:p>
            <a:endParaRPr lang="en-US" sz="2000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80106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7C8186-3D96-7B2E-3D48-C36D51BB44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4671BE8-9809-313A-22A8-3EACD9FCE0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671BE8-9809-313A-22A8-3EACD9FCE0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423A5D0-BF5E-6A14-72E4-333758B296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0E84DBCC-F3B6-C183-DF48-498D1C6E3646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2E75845C-4810-85F6-0A04-15AEA659C4D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41CEA52-D538-96D9-601B-288F4CE819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F9100EE2-1CDD-6CF8-1AEC-90008A1C972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3807FE6-5FDE-6618-CB2F-0A7990CE6BA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54AF877-2416-F01A-CCD7-B71532D60DA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C844F087-AC70-3868-2C23-B05C212CC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276999"/>
          </a:xfrm>
        </p:spPr>
        <p:txBody>
          <a:bodyPr/>
          <a:lstStyle/>
          <a:p>
            <a:r>
              <a:rPr lang="en-IN" sz="2000">
                <a:ea typeface="+mj-lt"/>
                <a:cs typeface="+mj-lt"/>
              </a:rPr>
              <a:t>Resources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812D1A-279F-2E10-E3D7-C6CCDE96F4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488" y="1229229"/>
            <a:ext cx="8201025" cy="174091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600">
                <a:ea typeface="+mn-lt"/>
                <a:cs typeface="+mn-lt"/>
              </a:rPr>
              <a:t>•</a:t>
            </a:r>
            <a:r>
              <a:rPr lang="en-US" sz="1600">
                <a:ea typeface="+mn-lt"/>
                <a:cs typeface="+mn-lt"/>
                <a:hlinkClick r:id="rId6"/>
              </a:rPr>
              <a:t>https://lumen.percipio.com/courses/75f99acf-53fd-45f0-b2bc-4f52ea52c4d7</a:t>
            </a:r>
            <a:endParaRPr lang="en-US"/>
          </a:p>
          <a:p>
            <a:r>
              <a:rPr lang="en-US" sz="1600">
                <a:ea typeface="+mn-lt"/>
                <a:cs typeface="+mn-lt"/>
              </a:rPr>
              <a:t>•</a:t>
            </a:r>
            <a:r>
              <a:rPr lang="en-US" sz="1600">
                <a:ea typeface="+mn-lt"/>
                <a:cs typeface="+mn-lt"/>
                <a:hlinkClick r:id="rId7"/>
              </a:rPr>
              <a:t>https://lumen.percipio.com/courses/b06a5973-f759-4451-9963-7f0b675a5e43</a:t>
            </a:r>
            <a:endParaRPr lang="en-US"/>
          </a:p>
          <a:p>
            <a:r>
              <a:rPr lang="en-US" sz="1600">
                <a:ea typeface="+mn-lt"/>
                <a:cs typeface="+mn-lt"/>
              </a:rPr>
              <a:t>•</a:t>
            </a:r>
            <a:r>
              <a:rPr lang="en-US" sz="1600">
                <a:ea typeface="+mn-lt"/>
                <a:cs typeface="+mn-lt"/>
                <a:hlinkClick r:id="rId8"/>
              </a:rPr>
              <a:t>https://lumen.percipio.com/courses/12ae025e-d58d-48f7-9a37-193bd2efa119</a:t>
            </a:r>
            <a:endParaRPr lang="en-US"/>
          </a:p>
          <a:p>
            <a:r>
              <a:rPr lang="en-US" sz="1600">
                <a:ea typeface="+mn-lt"/>
                <a:cs typeface="+mn-lt"/>
              </a:rPr>
              <a:t>•</a:t>
            </a:r>
            <a:r>
              <a:rPr lang="en-US" sz="1600">
                <a:ea typeface="+mn-lt"/>
                <a:cs typeface="+mn-lt"/>
                <a:hlinkClick r:id="rId9"/>
              </a:rPr>
              <a:t>https://lumen.percipio.com/courses/3605f136-e073-42d9-82ec-e325b9289217</a:t>
            </a:r>
            <a:endParaRPr lang="en-US"/>
          </a:p>
          <a:p>
            <a:r>
              <a:rPr lang="en-US" sz="1600">
                <a:ea typeface="+mn-lt"/>
                <a:cs typeface="+mn-lt"/>
              </a:rPr>
              <a:t>•</a:t>
            </a:r>
            <a:r>
              <a:rPr lang="en-US" sz="1600">
                <a:ea typeface="+mn-lt"/>
                <a:cs typeface="+mn-lt"/>
                <a:hlinkClick r:id="rId10"/>
              </a:rPr>
              <a:t>https://lumen.percipio.com/courses/1a5ab71c-cb63-48b5-be1d-a6b45c350a64</a:t>
            </a:r>
            <a:endParaRPr lang="en-US"/>
          </a:p>
          <a:p>
            <a:endParaRPr lang="en-US" sz="1600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98914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DDD0D2-2D0A-C522-A969-BB7FBCFFD4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98B6CB3-8C47-F62D-29B2-748080463E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8B6CB3-8C47-F62D-29B2-748080463E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A675B658-2A46-1BD3-227E-F633568E83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1399199E-DD22-183B-53F7-0EB218A9A0D3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BE35BF1F-EDED-913D-A4E5-C6C1DCC9B97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30C868A4-E7E8-2B9E-86B7-A14ECFFFF43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58BD8153-7017-2350-D747-D9945F2A357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8789A23-31F0-D2E2-4039-7EB59745610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8CA4C57F-F17C-4611-9CFC-805AB260F06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68B12F14-F4FC-CE02-578C-B2432E25B4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r>
              <a:rPr lang="en-IN" sz="2000" b="1"/>
              <a:t>Overview of Maven :</a:t>
            </a:r>
            <a:br>
              <a:rPr lang="en-IN" sz="2000" b="1"/>
            </a:b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A4C218-BB2B-F0A8-3546-6C3D487BE2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>
              <a:buNone/>
            </a:pPr>
            <a:r>
              <a:rPr lang="en-US" sz="1400" b="1" i="1" u="sng">
                <a:latin typeface="+mj-lt"/>
                <a:ea typeface="+mj-ea"/>
                <a:cs typeface="+mj-cs"/>
              </a:rPr>
              <a:t>What is Maven? :</a:t>
            </a:r>
            <a:r>
              <a:rPr lang="en-US" sz="1400" b="1" i="1">
                <a:latin typeface="+mj-lt"/>
                <a:ea typeface="+mj-ea"/>
                <a:cs typeface="+mj-cs"/>
              </a:rPr>
              <a:t> </a:t>
            </a:r>
            <a:r>
              <a:rPr lang="en-US" sz="1200">
                <a:latin typeface="inter-regular"/>
                <a:ea typeface="+mj-ea"/>
                <a:cs typeface="+mj-cs"/>
              </a:rPr>
              <a:t>Maven is a powerful project management tool based on the Project Object Model (POM). It simplifies the build process, manages dependencies, and provides consistent project structures.</a:t>
            </a:r>
          </a:p>
          <a:p>
            <a:pPr>
              <a:buNone/>
            </a:pPr>
            <a:r>
              <a:rPr lang="en-US" sz="1200">
                <a:latin typeface="inter-regular"/>
                <a:ea typeface="+mj-ea"/>
                <a:cs typeface="+mj-cs"/>
              </a:rPr>
              <a:t>Maven is written in Java and can be used to create projects written in Java, C#, Scala, and Ruby.</a:t>
            </a:r>
          </a:p>
          <a:p>
            <a:pPr>
              <a:buNone/>
            </a:pPr>
            <a:endParaRPr lang="en-US" sz="1200">
              <a:latin typeface="+mj-lt"/>
              <a:ea typeface="+mj-ea"/>
              <a:cs typeface="+mj-cs"/>
            </a:endParaRPr>
          </a:p>
          <a:p>
            <a:pPr>
              <a:buNone/>
            </a:pPr>
            <a:r>
              <a:rPr lang="en-US" sz="1400" b="1" i="1" u="sng">
                <a:latin typeface="+mj-lt"/>
                <a:ea typeface="+mj-ea"/>
                <a:cs typeface="+mj-cs"/>
              </a:rPr>
              <a:t>Why Use Maven?:</a:t>
            </a:r>
            <a:r>
              <a:rPr lang="en-US" sz="1400" b="1" i="1">
                <a:latin typeface="+mj-lt"/>
                <a:ea typeface="+mj-ea"/>
                <a:cs typeface="+mj-cs"/>
              </a:rPr>
              <a:t> </a:t>
            </a:r>
            <a:r>
              <a:rPr lang="en-US" sz="1200">
                <a:latin typeface="inter-regular"/>
                <a:ea typeface="+mj-ea"/>
                <a:cs typeface="+mj-cs"/>
              </a:rPr>
              <a:t>Maven resolves common development challenges, such as managing JAR dependencies, creating project structures, and automating builds.</a:t>
            </a:r>
            <a:endParaRPr lang="en-US" sz="1200">
              <a:ea typeface="+mj-ea"/>
              <a:cs typeface="+mj-cs"/>
            </a:endParaRPr>
          </a:p>
          <a:p>
            <a:pPr>
              <a:buNone/>
            </a:pPr>
            <a:r>
              <a:rPr lang="en-US" sz="1400" b="1" i="1" u="sng">
                <a:latin typeface="+mj-lt"/>
                <a:ea typeface="+mj-ea"/>
                <a:cs typeface="+mj-cs"/>
              </a:rPr>
              <a:t>Key Concepts :</a:t>
            </a:r>
            <a:endParaRPr lang="en-US" sz="1200">
              <a:ea typeface="+mj-ea"/>
              <a:cs typeface="+mj-cs"/>
            </a:endParaRPr>
          </a:p>
          <a:p>
            <a:pPr>
              <a:buNone/>
            </a:pPr>
            <a:endParaRPr lang="en-US" sz="1200" b="1" u="sng">
              <a:latin typeface="+mj-lt"/>
              <a:ea typeface="+mj-ea"/>
              <a:cs typeface="+mj-cs"/>
            </a:endParaRPr>
          </a:p>
          <a:p>
            <a:pPr marL="356616" lvl="1" indent="-171450">
              <a:buFont typeface="Wingdings" panose="05000000000000000000" pitchFamily="2" charset="2"/>
              <a:buChar char="§"/>
            </a:pPr>
            <a:r>
              <a:rPr lang="en-US" sz="1200">
                <a:latin typeface="inter-regular"/>
                <a:ea typeface="+mj-ea"/>
                <a:cs typeface="+mj-cs"/>
              </a:rPr>
              <a:t>POM.xml (Project Object Model): The central configuration file for Maven projects. 		</a:t>
            </a:r>
          </a:p>
          <a:p>
            <a:pPr marL="356616" lvl="1" indent="-171450">
              <a:buFont typeface="Wingdings" panose="05000000000000000000" pitchFamily="2" charset="2"/>
              <a:buChar char="§"/>
            </a:pPr>
            <a:r>
              <a:rPr lang="en-US" sz="1200">
                <a:latin typeface="inter-regular"/>
                <a:ea typeface="+mj-ea"/>
                <a:cs typeface="+mj-cs"/>
              </a:rPr>
              <a:t>Dependency Management: How Maven handles project dependencies.</a:t>
            </a:r>
          </a:p>
          <a:p>
            <a:pPr marL="356616" lvl="1" indent="-171450">
              <a:buFont typeface="Wingdings" panose="05000000000000000000" pitchFamily="2" charset="2"/>
              <a:buChar char="§"/>
            </a:pPr>
            <a:r>
              <a:rPr lang="en-US" sz="1200">
                <a:latin typeface="inter-regular"/>
                <a:ea typeface="+mj-ea"/>
                <a:cs typeface="+mj-cs"/>
              </a:rPr>
              <a:t>Build Lifecycle: Maven defines a set of phases (e.g., compile, test, package) for building projects.</a:t>
            </a:r>
          </a:p>
          <a:p>
            <a:pPr marL="356616" lvl="1" indent="-171450">
              <a:buFont typeface="Wingdings" panose="05000000000000000000" pitchFamily="2" charset="2"/>
              <a:buChar char="§"/>
            </a:pPr>
            <a:r>
              <a:rPr lang="en-US" sz="1200">
                <a:latin typeface="inter-regular"/>
                <a:ea typeface="+mj-ea"/>
                <a:cs typeface="+mj-cs"/>
              </a:rPr>
              <a:t>Plugins: Extend Maven’s functionality through plugins.</a:t>
            </a:r>
          </a:p>
          <a:p>
            <a:pPr marL="356616" lvl="1" indent="-171450">
              <a:buFont typeface="Wingdings" panose="05000000000000000000" pitchFamily="2" charset="2"/>
              <a:buChar char="§"/>
            </a:pPr>
            <a:r>
              <a:rPr lang="en-US" sz="1200">
                <a:latin typeface="inter-regular"/>
                <a:ea typeface="+mj-ea"/>
                <a:cs typeface="+mj-cs"/>
              </a:rPr>
              <a:t>Repositories: Understand local, central, and remote repositories.</a:t>
            </a:r>
          </a:p>
          <a:p>
            <a:pPr lvl="1" indent="0">
              <a:buNone/>
            </a:pPr>
            <a:endParaRPr lang="en-US" sz="1200">
              <a:latin typeface="inter-regular"/>
              <a:ea typeface="+mj-ea"/>
              <a:cs typeface="+mj-cs"/>
            </a:endParaRPr>
          </a:p>
          <a:p>
            <a:pPr>
              <a:buNone/>
            </a:pPr>
            <a:endParaRPr lang="en-US" sz="1200"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85475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DF357E-9F3B-AC1D-66E2-D76B51D65A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55FF6FC-A26F-88F1-733F-60169A9C86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5FF6FC-A26F-88F1-733F-60169A9C86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CC1281E8-8685-4B5D-5F43-0BE618D002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FC7016A5-A532-45AA-1495-4F48A7ED1CE7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F66DB9AC-A08D-7E8C-D7DC-F6CAEFC1D35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320DB922-3CD7-AF61-F1E1-08CFAFC78C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A5AE67D1-E5A3-DCDA-00A4-03F7D8421E7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E01BEBE5-A733-D34A-48AE-353A4244C39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E3B0BF90-0133-E364-4F2A-51B067E6C8B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1031941C-1052-EB71-C315-69D8B05F8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r>
              <a:rPr lang="en-US" sz="2000">
                <a:latin typeface="inter-regular"/>
                <a:ea typeface="+mj-ea"/>
                <a:cs typeface="+mj-cs"/>
              </a:rPr>
              <a:t>                                                                  POM.XML</a:t>
            </a:r>
            <a:br>
              <a:rPr lang="en-IN" sz="2000" b="1"/>
            </a:b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F6851EB-2639-BDCC-3970-225F8728B6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>
              <a:buNone/>
            </a:pPr>
            <a:r>
              <a:rPr lang="en-US" sz="1600" b="1">
                <a:latin typeface="inter-regular"/>
                <a:ea typeface="+mj-ea"/>
                <a:cs typeface="+mj-cs"/>
              </a:rPr>
              <a:t>POM Stands For </a:t>
            </a:r>
            <a:r>
              <a:rPr lang="en-US" sz="1600">
                <a:latin typeface="inter-regular"/>
                <a:ea typeface="+mj-ea"/>
                <a:cs typeface="+mj-cs"/>
                <a:sym typeface="Wingdings" panose="05000000000000000000" pitchFamily="2" charset="2"/>
              </a:rPr>
              <a:t> </a:t>
            </a:r>
            <a:r>
              <a:rPr lang="en-US" sz="1600">
                <a:latin typeface="inter-regular"/>
                <a:ea typeface="+mj-ea"/>
                <a:cs typeface="+mj-cs"/>
              </a:rPr>
              <a:t>Project Object Model. </a:t>
            </a:r>
          </a:p>
          <a:p>
            <a:pPr>
              <a:buNone/>
            </a:pPr>
            <a:r>
              <a:rPr lang="en-US" sz="1600">
                <a:latin typeface="inter-regular"/>
                <a:ea typeface="+mj-ea"/>
                <a:cs typeface="+mj-cs"/>
              </a:rPr>
              <a:t>POM.XML is the central configuration file for Maven projects which is the heart of Maven projects.</a:t>
            </a:r>
          </a:p>
          <a:p>
            <a:pPr>
              <a:buNone/>
            </a:pPr>
            <a:endParaRPr lang="en-US" sz="1600">
              <a:latin typeface="inter-regular"/>
              <a:ea typeface="+mj-ea"/>
              <a:cs typeface="+mj-cs"/>
            </a:endParaRPr>
          </a:p>
          <a:p>
            <a:pPr>
              <a:buNone/>
            </a:pPr>
            <a:r>
              <a:rPr lang="en-US" sz="1600" b="1">
                <a:latin typeface="inter-regular"/>
                <a:ea typeface="+mj-ea"/>
                <a:cs typeface="+mj-cs"/>
              </a:rPr>
              <a:t>Project Management:</a:t>
            </a:r>
          </a:p>
          <a:p>
            <a:pPr>
              <a:buNone/>
            </a:pPr>
            <a:endParaRPr lang="en-US" sz="1200" b="1" u="sng">
              <a:latin typeface="+mj-lt"/>
              <a:ea typeface="+mj-ea"/>
              <a:cs typeface="+mj-cs"/>
            </a:endParaRPr>
          </a:p>
          <a:p>
            <a:pPr marL="356616" lvl="1" indent="-171450">
              <a:buFont typeface="Wingdings" panose="05000000000000000000" pitchFamily="2" charset="2"/>
              <a:buChar char="§"/>
            </a:pPr>
            <a:r>
              <a:rPr lang="en-US" sz="1200" kern="0">
                <a:solidFill>
                  <a:srgbClr val="111111"/>
                </a:solidFill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fine project coordinates (group ID, artifact ID, version, </a:t>
            </a:r>
            <a:r>
              <a:rPr lang="en-US" sz="1200" i="1" kern="0">
                <a:solidFill>
                  <a:srgbClr val="111111"/>
                </a:solidFill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me, Description</a:t>
            </a:r>
            <a:r>
              <a:rPr lang="en-US" sz="1200" kern="0">
                <a:solidFill>
                  <a:srgbClr val="111111"/>
                </a:solidFill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).</a:t>
            </a:r>
          </a:p>
          <a:p>
            <a:pPr marL="356616" lvl="1" indent="-171450">
              <a:buFont typeface="Wingdings" panose="05000000000000000000" pitchFamily="2" charset="2"/>
              <a:buChar char="§"/>
            </a:pPr>
            <a:r>
              <a:rPr lang="en-US" sz="1200" kern="0">
                <a:solidFill>
                  <a:srgbClr val="111111"/>
                </a:solidFill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Specify project dependencies.</a:t>
            </a:r>
            <a:endParaRPr lang="en-US" sz="1200">
              <a:latin typeface="inter-regular"/>
              <a:ea typeface="+mj-ea"/>
              <a:cs typeface="+mj-cs"/>
            </a:endParaRPr>
          </a:p>
          <a:p>
            <a:pPr marL="356616" lvl="1" indent="-171450">
              <a:buFont typeface="Wingdings" panose="05000000000000000000" pitchFamily="2" charset="2"/>
              <a:buChar char="§"/>
            </a:pPr>
            <a:r>
              <a:rPr lang="en-US" sz="1200">
                <a:latin typeface="inter-regular"/>
                <a:ea typeface="+mj-ea"/>
                <a:cs typeface="+mj-cs"/>
              </a:rPr>
              <a:t>Plugins (Plugins contains configurations, Depending on these configurations project/ build will run) </a:t>
            </a:r>
          </a:p>
          <a:p>
            <a:pPr>
              <a:buNone/>
            </a:pPr>
            <a:endParaRPr lang="en-US" sz="1600">
              <a:latin typeface="inter-regular"/>
              <a:ea typeface="+mj-ea"/>
              <a:cs typeface="+mj-cs"/>
            </a:endParaRPr>
          </a:p>
          <a:p>
            <a:pPr>
              <a:buNone/>
            </a:pPr>
            <a:r>
              <a:rPr lang="en-US" sz="1600" b="1">
                <a:latin typeface="inter-regular"/>
                <a:ea typeface="+mj-ea"/>
                <a:cs typeface="+mj-cs"/>
              </a:rPr>
              <a:t>Build Settings:</a:t>
            </a:r>
          </a:p>
          <a:p>
            <a:pPr>
              <a:buNone/>
            </a:pPr>
            <a:endParaRPr lang="en-US" sz="1200" b="1" u="sng">
              <a:latin typeface="+mj-lt"/>
              <a:ea typeface="+mj-ea"/>
              <a:cs typeface="+mj-cs"/>
            </a:endParaRPr>
          </a:p>
          <a:p>
            <a:pPr marL="356616" lvl="1" indent="-171450">
              <a:buFont typeface="Wingdings" panose="05000000000000000000" pitchFamily="2" charset="2"/>
              <a:buChar char="§"/>
            </a:pPr>
            <a:r>
              <a:rPr lang="en-US" sz="1200" kern="0">
                <a:solidFill>
                  <a:srgbClr val="111111"/>
                </a:solidFill>
                <a:effectLst/>
                <a:latin typeface="Roboto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t source and target Java versions.</a:t>
            </a:r>
          </a:p>
          <a:p>
            <a:pPr marL="356616" lvl="1" indent="-171450">
              <a:buFont typeface="Wingdings" panose="05000000000000000000" pitchFamily="2" charset="2"/>
              <a:buChar char="§"/>
            </a:pPr>
            <a:r>
              <a:rPr lang="en-US" sz="1200">
                <a:latin typeface="inter-regular"/>
                <a:ea typeface="+mj-ea"/>
                <a:cs typeface="+mj-cs"/>
              </a:rPr>
              <a:t>Define project packaging (JAR, WAR, etc.) </a:t>
            </a:r>
          </a:p>
        </p:txBody>
      </p:sp>
    </p:spTree>
    <p:extLst>
      <p:ext uri="{BB962C8B-B14F-4D97-AF65-F5344CB8AC3E}">
        <p14:creationId xmlns:p14="http://schemas.microsoft.com/office/powerpoint/2010/main" val="3022892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570840-7742-CF5B-EB0A-00D65A64D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FB54301-3CBB-4581-6692-4DC879E3A3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B54301-3CBB-4581-6692-4DC879E3A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7E29BE60-59CE-BEA6-0829-9DB5386221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9BA29218-14B0-BEDC-2D81-068824CE1F71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1C59E85-A9DF-526D-D45D-2AE1A17846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449A4A48-35F2-8881-EFAC-EC0F05C1EE0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CCD5B3F4-80B6-EF54-EF8A-C5EE3793C9F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318F366-BEA4-ABDD-3284-6D009A35D4B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18DB6038-9257-0EF8-43C7-C3EE5E233BF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CEC8A1B3-27F5-AEE4-AB38-327BC43BC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r>
              <a:rPr lang="en-IN" sz="2000" b="1"/>
              <a:t>Sample POM.xml:</a:t>
            </a:r>
            <a:br>
              <a:rPr lang="en-IN" sz="2000" b="1"/>
            </a:b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0C80116-7401-9AB9-3B38-0E6E3980FE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>
              <a:buNone/>
            </a:pPr>
            <a:endParaRPr lang="en-US">
              <a:solidFill>
                <a:schemeClr val="tx1"/>
              </a:solidFill>
              <a:latin typeface="inter-regular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3945557-D390-07C4-A50A-397A6FA1E1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5201" y="977773"/>
            <a:ext cx="8693597" cy="514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486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D65022-DA80-657A-1125-95D4FA9BE6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8422893-62A9-B91C-ABD0-CE00BE7A5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422893-62A9-B91C-ABD0-CE00BE7A5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47507FFB-B456-941C-93C6-F33B0D6BBB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434960AF-CDD8-A1F2-DD43-AEFC2B3BCEFC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1650623-B19A-5291-020B-F59A59F8F5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DFCBB60-7CFF-A4BD-F2E1-F1780CB89A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AFECE080-A21A-5614-37E3-D01C103566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EB353AF8-87E7-34F8-2EA4-A54A20ACD0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10F595D5-9158-3693-2DEF-3AF5B553A7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4BBA34A6-9890-1EE7-8F58-10ECFD3559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r>
              <a:rPr lang="en-IN" sz="2000" b="1"/>
              <a:t>Sample POM.XML</a:t>
            </a:r>
            <a:br>
              <a:rPr lang="en-IN" sz="2000" b="1"/>
            </a:b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D36B5F7-919F-ADE5-3B16-8B0BBFF2C9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algn="l" fontAlgn="base">
              <a:buNone/>
            </a:pPr>
            <a:endParaRPr lang="en-US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37E76E-DF86-F422-D2FF-AFC715169F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3667" y="920621"/>
            <a:ext cx="8096666" cy="5016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452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D65022-DA80-657A-1125-95D4FA9BE6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8422893-62A9-B91C-ABD0-CE00BE7A5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422893-62A9-B91C-ABD0-CE00BE7A5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47507FFB-B456-941C-93C6-F33B0D6BBB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434960AF-CDD8-A1F2-DD43-AEFC2B3BCEFC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1650623-B19A-5291-020B-F59A59F8F54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DFCBB60-7CFF-A4BD-F2E1-F1780CB89AC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AFECE080-A21A-5614-37E3-D01C103566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EB353AF8-87E7-34F8-2EA4-A54A20ACD0A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10F595D5-9158-3693-2DEF-3AF5B553A7A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4BBA34A6-9890-1EE7-8F58-10ECFD3559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r>
              <a:rPr lang="en-IN" sz="2000" b="1"/>
              <a:t>Sample POM.XML</a:t>
            </a:r>
            <a:br>
              <a:rPr lang="en-IN" sz="2000" b="1"/>
            </a:b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D36B5F7-919F-ADE5-3B16-8B0BBFF2C9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algn="l" fontAlgn="base">
              <a:buNone/>
            </a:pPr>
            <a:endParaRPr lang="en-US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3" name="Picture 2" descr="A computer screen shot of a program&#10;&#10;Description automatically generated">
            <a:extLst>
              <a:ext uri="{FF2B5EF4-FFF2-40B4-BE49-F238E27FC236}">
                <a16:creationId xmlns:a16="http://schemas.microsoft.com/office/drawing/2014/main" id="{DB4BCAE7-9840-833F-9599-EBC24929ED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3399" y="907691"/>
            <a:ext cx="8425544" cy="4955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060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B5C996-F8F0-9EA3-E648-6C2C4584D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6FB8AB-A7F8-EE02-4411-C1E5C9E8A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FB8AB-A7F8-EE02-4411-C1E5C9E8A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F54C999-D05B-8FD5-A653-602D18F3C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C0D114C-C450-2FA2-C9B5-D01B4C6B8C64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DF641FB-C48B-B552-AAA0-A7C51CC86A8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352CFFA-0A81-0769-8C77-229821105F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7EE640F4-E8B3-5F5A-54E0-94104AEA73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BBC9A64-AA19-1CB6-29BB-252A1E1382E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798C0400-927B-0954-A9D7-4821419B26C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977658-C41B-081F-392F-088D3863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r>
              <a:rPr lang="en-IN" sz="2000" b="1"/>
              <a:t>Sample POM.xml</a:t>
            </a:r>
            <a:br>
              <a:rPr lang="en-IN" sz="2000" b="1"/>
            </a:br>
            <a:endParaRPr lang="en-US" sz="2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1D760B-D9C5-AD6B-A013-DFFB7A55A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418598"/>
            <a:ext cx="7834313" cy="4608855"/>
          </a:xfrm>
        </p:spPr>
        <p:txBody>
          <a:bodyPr/>
          <a:lstStyle/>
          <a:p>
            <a:pPr marL="171450" indent="-171450" algn="l" fontAlgn="base">
              <a:buFont typeface="Wingdings" panose="05000000000000000000" pitchFamily="2" charset="2"/>
              <a:buChar char="§"/>
            </a:pPr>
            <a:endParaRPr lang="en-US" b="0" i="0">
              <a:solidFill>
                <a:srgbClr val="273239"/>
              </a:solidFill>
              <a:effectLst/>
              <a:latin typeface="inter-regular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BD706A6-60F8-BEA0-41E0-1C3968CF9F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0966" y="1176798"/>
            <a:ext cx="8122067" cy="4617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34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1F1463-9F4F-0A35-B8F5-CAE10B9ABE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FE50089-D7D6-C73D-A38A-E48B5CEBCA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E50089-D7D6-C73D-A38A-E48B5CEBCA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B8669A67-EC42-499D-31B9-E7C2364659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0" y="5574590"/>
            <a:ext cx="1604772" cy="4262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C5D61F84-E4F5-D0F7-E8EE-871025E14D65}"/>
              </a:ext>
            </a:extLst>
          </p:cNvPr>
          <p:cNvGrpSpPr/>
          <p:nvPr/>
        </p:nvGrpSpPr>
        <p:grpSpPr>
          <a:xfrm>
            <a:off x="5410200" y="855465"/>
            <a:ext cx="3733800" cy="5145286"/>
            <a:chOff x="5869391" y="-2381"/>
            <a:chExt cx="6322610" cy="6860381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1BE445EB-4F4B-FD64-9FBF-4CC5261FCFC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869391" y="4500561"/>
              <a:ext cx="1606299" cy="2357439"/>
            </a:xfrm>
            <a:custGeom>
              <a:avLst/>
              <a:gdLst>
                <a:gd name="T0" fmla="*/ 187 w 2984"/>
                <a:gd name="T1" fmla="*/ 0 h 3986"/>
                <a:gd name="T2" fmla="*/ 422 w 2984"/>
                <a:gd name="T3" fmla="*/ 1621 h 3986"/>
                <a:gd name="T4" fmla="*/ 0 w 2984"/>
                <a:gd name="T5" fmla="*/ 3986 h 3986"/>
                <a:gd name="T6" fmla="*/ 2984 w 2984"/>
                <a:gd name="T7" fmla="*/ 3986 h 3986"/>
                <a:gd name="T8" fmla="*/ 1947 w 2984"/>
                <a:gd name="T9" fmla="*/ 1956 h 3986"/>
                <a:gd name="T10" fmla="*/ 187 w 2984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4" h="3986">
                  <a:moveTo>
                    <a:pt x="187" y="0"/>
                  </a:moveTo>
                  <a:cubicBezTo>
                    <a:pt x="324" y="531"/>
                    <a:pt x="412" y="1071"/>
                    <a:pt x="422" y="1621"/>
                  </a:cubicBezTo>
                  <a:cubicBezTo>
                    <a:pt x="435" y="2440"/>
                    <a:pt x="274" y="3227"/>
                    <a:pt x="0" y="3986"/>
                  </a:cubicBezTo>
                  <a:lnTo>
                    <a:pt x="2984" y="3986"/>
                  </a:lnTo>
                  <a:cubicBezTo>
                    <a:pt x="2777" y="3291"/>
                    <a:pt x="2432" y="2609"/>
                    <a:pt x="1947" y="1956"/>
                  </a:cubicBezTo>
                  <a:cubicBezTo>
                    <a:pt x="1448" y="1286"/>
                    <a:pt x="812" y="643"/>
                    <a:pt x="187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CE414E11-FCBF-3B3E-52C9-98B56E3B90F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372734" y="930207"/>
              <a:ext cx="1386750" cy="3570356"/>
            </a:xfrm>
            <a:custGeom>
              <a:avLst/>
              <a:gdLst>
                <a:gd name="T0" fmla="*/ 337 w 2569"/>
                <a:gd name="T1" fmla="*/ 3011 h 6047"/>
                <a:gd name="T2" fmla="*/ 2569 w 2569"/>
                <a:gd name="T3" fmla="*/ 6047 h 6047"/>
                <a:gd name="T4" fmla="*/ 1672 w 2569"/>
                <a:gd name="T5" fmla="*/ 3533 h 6047"/>
                <a:gd name="T6" fmla="*/ 668 w 2569"/>
                <a:gd name="T7" fmla="*/ 0 h 6047"/>
                <a:gd name="T8" fmla="*/ 337 w 2569"/>
                <a:gd name="T9" fmla="*/ 3011 h 6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9" h="6047">
                  <a:moveTo>
                    <a:pt x="337" y="3011"/>
                  </a:moveTo>
                  <a:cubicBezTo>
                    <a:pt x="701" y="4092"/>
                    <a:pt x="1621" y="5071"/>
                    <a:pt x="2569" y="6047"/>
                  </a:cubicBezTo>
                  <a:cubicBezTo>
                    <a:pt x="2349" y="5190"/>
                    <a:pt x="2006" y="4355"/>
                    <a:pt x="1672" y="3533"/>
                  </a:cubicBezTo>
                  <a:cubicBezTo>
                    <a:pt x="1211" y="2394"/>
                    <a:pt x="756" y="1216"/>
                    <a:pt x="668" y="0"/>
                  </a:cubicBezTo>
                  <a:cubicBezTo>
                    <a:pt x="169" y="984"/>
                    <a:pt x="0" y="2011"/>
                    <a:pt x="337" y="3011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CD093820-05ED-FCF8-FDE9-12CF31E1182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196841" y="4500561"/>
              <a:ext cx="1610462" cy="2357439"/>
            </a:xfrm>
            <a:custGeom>
              <a:avLst/>
              <a:gdLst>
                <a:gd name="T0" fmla="*/ 188 w 2985"/>
                <a:gd name="T1" fmla="*/ 0 h 3986"/>
                <a:gd name="T2" fmla="*/ 422 w 2985"/>
                <a:gd name="T3" fmla="*/ 1621 h 3986"/>
                <a:gd name="T4" fmla="*/ 0 w 2985"/>
                <a:gd name="T5" fmla="*/ 3986 h 3986"/>
                <a:gd name="T6" fmla="*/ 2985 w 2985"/>
                <a:gd name="T7" fmla="*/ 3986 h 3986"/>
                <a:gd name="T8" fmla="*/ 1947 w 2985"/>
                <a:gd name="T9" fmla="*/ 1956 h 3986"/>
                <a:gd name="T10" fmla="*/ 188 w 2985"/>
                <a:gd name="T11" fmla="*/ 0 h 3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85" h="3986">
                  <a:moveTo>
                    <a:pt x="188" y="0"/>
                  </a:moveTo>
                  <a:cubicBezTo>
                    <a:pt x="324" y="531"/>
                    <a:pt x="413" y="1071"/>
                    <a:pt x="422" y="1621"/>
                  </a:cubicBezTo>
                  <a:cubicBezTo>
                    <a:pt x="436" y="2440"/>
                    <a:pt x="275" y="3227"/>
                    <a:pt x="0" y="3986"/>
                  </a:cubicBezTo>
                  <a:lnTo>
                    <a:pt x="2985" y="3986"/>
                  </a:lnTo>
                  <a:cubicBezTo>
                    <a:pt x="2777" y="3291"/>
                    <a:pt x="2433" y="2609"/>
                    <a:pt x="1947" y="1956"/>
                  </a:cubicBezTo>
                  <a:cubicBezTo>
                    <a:pt x="1449" y="1286"/>
                    <a:pt x="812" y="643"/>
                    <a:pt x="188" y="0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9AF31F69-AE6E-43B5-A037-65BF46C717E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243798" y="0"/>
              <a:ext cx="4948203" cy="6858000"/>
            </a:xfrm>
            <a:custGeom>
              <a:avLst/>
              <a:gdLst>
                <a:gd name="connsiteX0" fmla="*/ 3867831 w 4948203"/>
                <a:gd name="connsiteY0" fmla="*/ 0 h 6858000"/>
                <a:gd name="connsiteX1" fmla="*/ 3215348 w 4948203"/>
                <a:gd name="connsiteY1" fmla="*/ 0 h 6858000"/>
                <a:gd name="connsiteX2" fmla="*/ 2990281 w 4948203"/>
                <a:gd name="connsiteY2" fmla="*/ 0 h 6858000"/>
                <a:gd name="connsiteX3" fmla="*/ 2799701 w 4948203"/>
                <a:gd name="connsiteY3" fmla="*/ 0 h 6858000"/>
                <a:gd name="connsiteX4" fmla="*/ 2308161 w 4948203"/>
                <a:gd name="connsiteY4" fmla="*/ 0 h 6858000"/>
                <a:gd name="connsiteX5" fmla="*/ 986972 w 4948203"/>
                <a:gd name="connsiteY5" fmla="*/ 0 h 6858000"/>
                <a:gd name="connsiteX6" fmla="*/ 159658 w 4948203"/>
                <a:gd name="connsiteY6" fmla="*/ 0 h 6858000"/>
                <a:gd name="connsiteX7" fmla="*/ 0 w 4948203"/>
                <a:gd name="connsiteY7" fmla="*/ 0 h 6858000"/>
                <a:gd name="connsiteX8" fmla="*/ 0 w 4948203"/>
                <a:gd name="connsiteY8" fmla="*/ 6858000 h 6858000"/>
                <a:gd name="connsiteX9" fmla="*/ 159658 w 4948203"/>
                <a:gd name="connsiteY9" fmla="*/ 6858000 h 6858000"/>
                <a:gd name="connsiteX10" fmla="*/ 986972 w 4948203"/>
                <a:gd name="connsiteY10" fmla="*/ 6858000 h 6858000"/>
                <a:gd name="connsiteX11" fmla="*/ 2308161 w 4948203"/>
                <a:gd name="connsiteY11" fmla="*/ 6858000 h 6858000"/>
                <a:gd name="connsiteX12" fmla="*/ 2799701 w 4948203"/>
                <a:gd name="connsiteY12" fmla="*/ 6858000 h 6858000"/>
                <a:gd name="connsiteX13" fmla="*/ 2990281 w 4948203"/>
                <a:gd name="connsiteY13" fmla="*/ 6858000 h 6858000"/>
                <a:gd name="connsiteX14" fmla="*/ 3215348 w 4948203"/>
                <a:gd name="connsiteY14" fmla="*/ 6858000 h 6858000"/>
                <a:gd name="connsiteX15" fmla="*/ 4720616 w 4948203"/>
                <a:gd name="connsiteY15" fmla="*/ 6858000 h 6858000"/>
                <a:gd name="connsiteX16" fmla="*/ 4947810 w 4948203"/>
                <a:gd name="connsiteY16" fmla="*/ 5460398 h 6858000"/>
                <a:gd name="connsiteX17" fmla="*/ 4821292 w 4948203"/>
                <a:gd name="connsiteY17" fmla="*/ 4502465 h 6858000"/>
                <a:gd name="connsiteX18" fmla="*/ 3619640 w 4948203"/>
                <a:gd name="connsiteY18" fmla="*/ 2708334 h 6858000"/>
                <a:gd name="connsiteX19" fmla="*/ 3797842 w 4948203"/>
                <a:gd name="connsiteY19" fmla="*/ 928977 h 6858000"/>
                <a:gd name="connsiteX20" fmla="*/ 3791382 w 4948203"/>
                <a:gd name="connsiteY20" fmla="*/ 560223 h 6858000"/>
                <a:gd name="connsiteX21" fmla="*/ 3867831 w 4948203"/>
                <a:gd name="connsiteY21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48203" h="6858000">
                  <a:moveTo>
                    <a:pt x="3867831" y="0"/>
                  </a:moveTo>
                  <a:lnTo>
                    <a:pt x="3215348" y="0"/>
                  </a:lnTo>
                  <a:lnTo>
                    <a:pt x="2990281" y="0"/>
                  </a:lnTo>
                  <a:lnTo>
                    <a:pt x="2799701" y="0"/>
                  </a:lnTo>
                  <a:lnTo>
                    <a:pt x="2308161" y="0"/>
                  </a:lnTo>
                  <a:lnTo>
                    <a:pt x="986972" y="0"/>
                  </a:lnTo>
                  <a:lnTo>
                    <a:pt x="159658" y="0"/>
                  </a:lnTo>
                  <a:lnTo>
                    <a:pt x="0" y="0"/>
                  </a:lnTo>
                  <a:lnTo>
                    <a:pt x="0" y="6858000"/>
                  </a:lnTo>
                  <a:lnTo>
                    <a:pt x="159658" y="6858000"/>
                  </a:lnTo>
                  <a:lnTo>
                    <a:pt x="986972" y="6858000"/>
                  </a:lnTo>
                  <a:lnTo>
                    <a:pt x="2308161" y="6858000"/>
                  </a:lnTo>
                  <a:lnTo>
                    <a:pt x="2799701" y="6858000"/>
                  </a:lnTo>
                  <a:lnTo>
                    <a:pt x="2990281" y="6858000"/>
                  </a:lnTo>
                  <a:lnTo>
                    <a:pt x="3215348" y="6858000"/>
                  </a:lnTo>
                  <a:lnTo>
                    <a:pt x="4720616" y="6858000"/>
                  </a:lnTo>
                  <a:cubicBezTo>
                    <a:pt x="4868130" y="6409468"/>
                    <a:pt x="4954808" y="5944388"/>
                    <a:pt x="4947810" y="5460398"/>
                  </a:cubicBezTo>
                  <a:cubicBezTo>
                    <a:pt x="4942426" y="5135375"/>
                    <a:pt x="4895049" y="4816260"/>
                    <a:pt x="4821292" y="4502465"/>
                  </a:cubicBezTo>
                  <a:cubicBezTo>
                    <a:pt x="4310913" y="3925695"/>
                    <a:pt x="3815609" y="3347153"/>
                    <a:pt x="3619640" y="2708334"/>
                  </a:cubicBezTo>
                  <a:cubicBezTo>
                    <a:pt x="3438208" y="2117382"/>
                    <a:pt x="3529193" y="1510474"/>
                    <a:pt x="3797842" y="928977"/>
                  </a:cubicBezTo>
                  <a:cubicBezTo>
                    <a:pt x="3789766" y="806650"/>
                    <a:pt x="3787074" y="683732"/>
                    <a:pt x="3791382" y="560223"/>
                  </a:cubicBezTo>
                  <a:cubicBezTo>
                    <a:pt x="3797842" y="372891"/>
                    <a:pt x="3823684" y="183786"/>
                    <a:pt x="386783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8580" rIns="68580" bIns="68580" rtlCol="0" anchor="ctr"/>
            <a:lstStyle/>
            <a:p>
              <a:pPr algn="ctr" defTabSz="685800">
                <a:lnSpc>
                  <a:spcPct val="95000"/>
                </a:lnSpc>
              </a:pPr>
              <a:endParaRPr lang="en-US" sz="1350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00FD8CFD-C734-D85B-A9CC-9B7F5B5C06C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7809683" y="-2381"/>
              <a:ext cx="599241" cy="939731"/>
            </a:xfrm>
            <a:custGeom>
              <a:avLst/>
              <a:gdLst>
                <a:gd name="T0" fmla="*/ 20 w 1110"/>
                <a:gd name="T1" fmla="*/ 1572 h 1572"/>
                <a:gd name="T2" fmla="*/ 1110 w 1110"/>
                <a:gd name="T3" fmla="*/ 0 h 1572"/>
                <a:gd name="T4" fmla="*/ 150 w 1110"/>
                <a:gd name="T5" fmla="*/ 0 h 1572"/>
                <a:gd name="T6" fmla="*/ 8 w 1110"/>
                <a:gd name="T7" fmla="*/ 948 h 1572"/>
                <a:gd name="T8" fmla="*/ 20 w 1110"/>
                <a:gd name="T9" fmla="*/ 1572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0" h="1572">
                  <a:moveTo>
                    <a:pt x="20" y="1572"/>
                  </a:moveTo>
                  <a:cubicBezTo>
                    <a:pt x="294" y="1032"/>
                    <a:pt x="667" y="504"/>
                    <a:pt x="1110" y="0"/>
                  </a:cubicBezTo>
                  <a:lnTo>
                    <a:pt x="150" y="0"/>
                  </a:lnTo>
                  <a:cubicBezTo>
                    <a:pt x="68" y="311"/>
                    <a:pt x="20" y="631"/>
                    <a:pt x="8" y="948"/>
                  </a:cubicBezTo>
                  <a:cubicBezTo>
                    <a:pt x="0" y="1157"/>
                    <a:pt x="5" y="1365"/>
                    <a:pt x="20" y="1572"/>
                  </a:cubicBezTo>
                </a:path>
              </a:pathLst>
            </a:custGeom>
            <a:gradFill>
              <a:gsLst>
                <a:gs pos="0">
                  <a:schemeClr val="tx2">
                    <a:lumMod val="20000"/>
                    <a:lumOff val="80000"/>
                  </a:schemeClr>
                </a:gs>
                <a:gs pos="57000">
                  <a:schemeClr val="tx2"/>
                </a:gs>
                <a:gs pos="100000">
                  <a:schemeClr val="accent1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013">
                <a:solidFill>
                  <a:srgbClr val="575757"/>
                </a:solidFill>
                <a:latin typeface="Arial" panose="020B0604020202020204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5199A431-796F-73CE-E14D-6530C849B0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500" y="622800"/>
            <a:ext cx="8200013" cy="553998"/>
          </a:xfrm>
        </p:spPr>
        <p:txBody>
          <a:bodyPr/>
          <a:lstStyle/>
          <a:p>
            <a:r>
              <a:rPr lang="en-US" sz="2000"/>
              <a:t>Maven Build Life Cycle</a:t>
            </a:r>
            <a:r>
              <a:rPr lang="en-IN" sz="2000" b="1"/>
              <a:t>:</a:t>
            </a:r>
            <a:br>
              <a:rPr lang="en-IN" sz="2000" b="1"/>
            </a:br>
            <a:endParaRPr lang="en-US" sz="2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81B654-2A66-7EA7-0957-8CACC0E4A2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3D60523-AD5B-F31D-E918-3BFFA16D4A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1486" y="1554906"/>
            <a:ext cx="8201025" cy="401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192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umen Grid 16:9 - 25668">
  <a:themeElements>
    <a:clrScheme name="Custom 1">
      <a:dk1>
        <a:srgbClr val="000000"/>
      </a:dk1>
      <a:lt1>
        <a:srgbClr val="FFFFFF"/>
      </a:lt1>
      <a:dk2>
        <a:srgbClr val="38C6F3"/>
      </a:dk2>
      <a:lt2>
        <a:srgbClr val="F2F2F2"/>
      </a:lt2>
      <a:accent1>
        <a:srgbClr val="083076"/>
      </a:accent1>
      <a:accent2>
        <a:srgbClr val="0075C9"/>
      </a:accent2>
      <a:accent3>
        <a:srgbClr val="FF9E18"/>
      </a:accent3>
      <a:accent4>
        <a:srgbClr val="0C9ED9"/>
      </a:accent4>
      <a:accent5>
        <a:srgbClr val="B3B3B3"/>
      </a:accent5>
      <a:accent6>
        <a:srgbClr val="E77528"/>
      </a:accent6>
      <a:hlink>
        <a:srgbClr val="E1251B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38C6F3"/>
        </a:solidFill>
        <a:ln w="9525" cap="rnd" cmpd="sng" algn="ctr">
          <a:solidFill>
            <a:srgbClr val="38C6F3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0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4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5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6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7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8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19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0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4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5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6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7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8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29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30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3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4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5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6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7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8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ppt/theme/themeOverride9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38C6F3"/>
    </a:dk2>
    <a:lt2>
      <a:srgbClr val="F2F2F2"/>
    </a:lt2>
    <a:accent1>
      <a:srgbClr val="083076"/>
    </a:accent1>
    <a:accent2>
      <a:srgbClr val="0075C9"/>
    </a:accent2>
    <a:accent3>
      <a:srgbClr val="FF9E18"/>
    </a:accent3>
    <a:accent4>
      <a:srgbClr val="0C9ED9"/>
    </a:accent4>
    <a:accent5>
      <a:srgbClr val="B3B3B3"/>
    </a:accent5>
    <a:accent6>
      <a:srgbClr val="E77528"/>
    </a:accent6>
    <a:hlink>
      <a:srgbClr val="E1251B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D2C6DBDE1FB8479D453D89F4E66233" ma:contentTypeVersion="8" ma:contentTypeDescription="Create a new document." ma:contentTypeScope="" ma:versionID="437f003096f8432d41741693169afcf5">
  <xsd:schema xmlns:xsd="http://www.w3.org/2001/XMLSchema" xmlns:xs="http://www.w3.org/2001/XMLSchema" xmlns:p="http://schemas.microsoft.com/office/2006/metadata/properties" xmlns:ns2="aff37bb9-2b05-4d82-9c4c-29c900e66ac7" targetNamespace="http://schemas.microsoft.com/office/2006/metadata/properties" ma:root="true" ma:fieldsID="d7931bd52aa476497b6edc5a325191d1" ns2:_="">
    <xsd:import namespace="aff37bb9-2b05-4d82-9c4c-29c900e66a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f37bb9-2b05-4d82-9c4c-29c900e66a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420B84E-D5B6-4E43-A6E2-7A117BEE50D3}"/>
</file>

<file path=customXml/itemProps2.xml><?xml version="1.0" encoding="utf-8"?>
<ds:datastoreItem xmlns:ds="http://schemas.openxmlformats.org/officeDocument/2006/customXml" ds:itemID="{B3D8D01B-C331-4C0A-9378-A4119F82E703}"/>
</file>

<file path=customXml/itemProps3.xml><?xml version="1.0" encoding="utf-8"?>
<ds:datastoreItem xmlns:ds="http://schemas.openxmlformats.org/officeDocument/2006/customXml" ds:itemID="{F5CAD60D-F5BA-4F1D-9530-425AC84CA046}"/>
</file>

<file path=docMetadata/LabelInfo.xml><?xml version="1.0" encoding="utf-8"?>
<clbl:labelList xmlns:clbl="http://schemas.microsoft.com/office/2020/mipLabelMetadata">
  <clbl:label id="{72b17115-9915-42c0-9f1b-4f98e5a4bcd2}" enabled="0" method="" siteId="{72b17115-9915-42c0-9f1b-4f98e5a4bcd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On-screen Show (4:3)</PresentationFormat>
  <Slides>23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4" baseType="lpstr">
      <vt:lpstr>Lumen Grid 16:9 - 25668</vt:lpstr>
      <vt:lpstr>                                   Day 4- Agenda</vt:lpstr>
      <vt:lpstr>                                   Building With Maven </vt:lpstr>
      <vt:lpstr>Overview of Maven : </vt:lpstr>
      <vt:lpstr>                                                                  POM.XML </vt:lpstr>
      <vt:lpstr>Sample POM.xml: </vt:lpstr>
      <vt:lpstr>Sample POM.XML </vt:lpstr>
      <vt:lpstr>Sample POM.XML </vt:lpstr>
      <vt:lpstr>Sample POM.xml </vt:lpstr>
      <vt:lpstr>Maven Build Life Cycle: </vt:lpstr>
      <vt:lpstr>Environment setup: </vt:lpstr>
      <vt:lpstr>Creating a java project using maven: </vt:lpstr>
      <vt:lpstr>Creating a java project using maven: </vt:lpstr>
      <vt:lpstr>Creating a java project using maven: </vt:lpstr>
      <vt:lpstr>Maven Directory Structure: </vt:lpstr>
      <vt:lpstr>Executing the mvn command: </vt:lpstr>
      <vt:lpstr>Maven Dependencies Version upgrade/Downgrade: </vt:lpstr>
      <vt:lpstr>Introduction to JUnit5.0</vt:lpstr>
      <vt:lpstr>Junit setup</vt:lpstr>
      <vt:lpstr>Common Asserts</vt:lpstr>
      <vt:lpstr>Example</vt:lpstr>
      <vt:lpstr>Handling exceptions in Junit  </vt:lpstr>
      <vt:lpstr>Junit report</vt:lpstr>
      <vt:lpstr>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ndia</dc:creator>
  <cp:revision>68</cp:revision>
  <dcterms:created xsi:type="dcterms:W3CDTF">2006-08-16T00:00:00Z</dcterms:created>
  <dcterms:modified xsi:type="dcterms:W3CDTF">2024-02-23T15:42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D2C6DBDE1FB8479D453D89F4E66233</vt:lpwstr>
  </property>
</Properties>
</file>